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3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30" r:id="rId5"/>
    <p:sldMasterId id="2147483758" r:id="rId6"/>
    <p:sldMasterId id="2147483786" r:id="rId7"/>
  </p:sldMasterIdLst>
  <p:notesMasterIdLst>
    <p:notesMasterId r:id="rId38"/>
  </p:notesMasterIdLst>
  <p:handoutMasterIdLst>
    <p:handoutMasterId r:id="rId39"/>
  </p:handoutMasterIdLst>
  <p:sldIdLst>
    <p:sldId id="256" r:id="rId8"/>
    <p:sldId id="984" r:id="rId9"/>
    <p:sldId id="781" r:id="rId10"/>
    <p:sldId id="780" r:id="rId11"/>
    <p:sldId id="3457" r:id="rId12"/>
    <p:sldId id="265" r:id="rId13"/>
    <p:sldId id="3454" r:id="rId14"/>
    <p:sldId id="3470" r:id="rId15"/>
    <p:sldId id="3471" r:id="rId16"/>
    <p:sldId id="3472" r:id="rId17"/>
    <p:sldId id="3473" r:id="rId18"/>
    <p:sldId id="3474" r:id="rId19"/>
    <p:sldId id="3445" r:id="rId20"/>
    <p:sldId id="3443" r:id="rId21"/>
    <p:sldId id="3456" r:id="rId22"/>
    <p:sldId id="3421" r:id="rId23"/>
    <p:sldId id="3418" r:id="rId24"/>
    <p:sldId id="3469" r:id="rId25"/>
    <p:sldId id="3458" r:id="rId26"/>
    <p:sldId id="3459" r:id="rId27"/>
    <p:sldId id="3461" r:id="rId28"/>
    <p:sldId id="3460" r:id="rId29"/>
    <p:sldId id="3462" r:id="rId30"/>
    <p:sldId id="3467" r:id="rId31"/>
    <p:sldId id="3465" r:id="rId32"/>
    <p:sldId id="3466" r:id="rId33"/>
    <p:sldId id="3468" r:id="rId34"/>
    <p:sldId id="1023" r:id="rId35"/>
    <p:sldId id="1006" r:id="rId36"/>
    <p:sldId id="874" r:id="rId37"/>
  </p:sldIdLst>
  <p:sldSz cx="12192000" cy="6858000"/>
  <p:notesSz cx="6794500" cy="9931400"/>
  <p:custDataLst>
    <p:tags r:id="rId40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ute Frøisland" initials="GF" lastIdx="5" clrIdx="0">
    <p:extLst>
      <p:ext uri="{19B8F6BF-5375-455C-9EA6-DF929625EA0E}">
        <p15:presenceInfo xmlns:p15="http://schemas.microsoft.com/office/powerpoint/2012/main" userId="S-1-5-21-1927809936-1189766144-1318725885-623328" providerId="AD"/>
      </p:ext>
    </p:extLst>
  </p:cmAuthor>
  <p:cmAuthor id="2" name="Marit Kristine Olli Helgesen" initials="MKOH" lastIdx="1" clrIdx="1">
    <p:extLst>
      <p:ext uri="{19B8F6BF-5375-455C-9EA6-DF929625EA0E}">
        <p15:presenceInfo xmlns:p15="http://schemas.microsoft.com/office/powerpoint/2012/main" userId="S-1-5-21-1927809936-1189766144-1318725885-7927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C93"/>
    <a:srgbClr val="BBE0E3"/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DAD149-98DE-4A61-B2AA-FEF3ACCCE9F9}" v="1705" dt="2022-10-18T08:43:55.182"/>
    <p1510:client id="{5CF8D051-29BE-4D34-AD69-4CD2B0CA6589}" v="2" dt="2022-10-25T08:32:48.0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notesMaster" Target="notesMasters/notesMaster1.xml"/><Relationship Id="rId46" Type="http://schemas.microsoft.com/office/2016/11/relationships/changesInfo" Target="changesInfos/changesInfo1.xml"/><Relationship Id="rId20" Type="http://schemas.openxmlformats.org/officeDocument/2006/relationships/slide" Target="slides/slide13.xml"/><Relationship Id="rId41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nne Sinead Flesland" userId="S::mariasfl@uio.no::facc3627-c0de-4b78-919d-1b6bf2dc9821" providerId="AD" clId="Web-{6306C024-E921-47D7-999A-6B3C49B6C397}"/>
    <pc:docChg chg="addSld modSld sldOrd">
      <pc:chgData name="Marianne Sinead Flesland" userId="S::mariasfl@uio.no::facc3627-c0de-4b78-919d-1b6bf2dc9821" providerId="AD" clId="Web-{6306C024-E921-47D7-999A-6B3C49B6C397}" dt="2022-10-18T07:24:03.151" v="162"/>
      <pc:docMkLst>
        <pc:docMk/>
      </pc:docMkLst>
      <pc:sldChg chg="ord">
        <pc:chgData name="Marianne Sinead Flesland" userId="S::mariasfl@uio.no::facc3627-c0de-4b78-919d-1b6bf2dc9821" providerId="AD" clId="Web-{6306C024-E921-47D7-999A-6B3C49B6C397}" dt="2022-10-18T07:20:50.931" v="10"/>
        <pc:sldMkLst>
          <pc:docMk/>
          <pc:sldMk cId="3308984105" sldId="3465"/>
        </pc:sldMkLst>
      </pc:sldChg>
      <pc:sldChg chg="modSp">
        <pc:chgData name="Marianne Sinead Flesland" userId="S::mariasfl@uio.no::facc3627-c0de-4b78-919d-1b6bf2dc9821" providerId="AD" clId="Web-{6306C024-E921-47D7-999A-6B3C49B6C397}" dt="2022-10-18T07:11:50.443" v="9" actId="20577"/>
        <pc:sldMkLst>
          <pc:docMk/>
          <pc:sldMk cId="1479224844" sldId="3467"/>
        </pc:sldMkLst>
        <pc:spChg chg="mod">
          <ac:chgData name="Marianne Sinead Flesland" userId="S::mariasfl@uio.no::facc3627-c0de-4b78-919d-1b6bf2dc9821" providerId="AD" clId="Web-{6306C024-E921-47D7-999A-6B3C49B6C397}" dt="2022-10-18T07:11:50.443" v="9" actId="20577"/>
          <ac:spMkLst>
            <pc:docMk/>
            <pc:sldMk cId="1479224844" sldId="3467"/>
            <ac:spMk id="5" creationId="{F874BB30-52B6-4A1E-0F4D-6613287AE38B}"/>
          </ac:spMkLst>
        </pc:spChg>
      </pc:sldChg>
      <pc:sldChg chg="modSp">
        <pc:chgData name="Marianne Sinead Flesland" userId="S::mariasfl@uio.no::facc3627-c0de-4b78-919d-1b6bf2dc9821" providerId="AD" clId="Web-{6306C024-E921-47D7-999A-6B3C49B6C397}" dt="2022-10-18T07:05:06.627" v="7"/>
        <pc:sldMkLst>
          <pc:docMk/>
          <pc:sldMk cId="3831833797" sldId="3468"/>
        </pc:sldMkLst>
        <pc:graphicFrameChg chg="mod modGraphic">
          <ac:chgData name="Marianne Sinead Flesland" userId="S::mariasfl@uio.no::facc3627-c0de-4b78-919d-1b6bf2dc9821" providerId="AD" clId="Web-{6306C024-E921-47D7-999A-6B3C49B6C397}" dt="2022-10-18T07:05:06.627" v="7"/>
          <ac:graphicFrameMkLst>
            <pc:docMk/>
            <pc:sldMk cId="3831833797" sldId="3468"/>
            <ac:graphicFrameMk id="6" creationId="{7D0E1D98-917F-4BA0-0B18-4A8ABE616901}"/>
          </ac:graphicFrameMkLst>
        </pc:graphicFrameChg>
      </pc:sldChg>
      <pc:sldChg chg="addSp delSp modSp new">
        <pc:chgData name="Marianne Sinead Flesland" userId="S::mariasfl@uio.no::facc3627-c0de-4b78-919d-1b6bf2dc9821" providerId="AD" clId="Web-{6306C024-E921-47D7-999A-6B3C49B6C397}" dt="2022-10-18T07:24:03.151" v="162"/>
        <pc:sldMkLst>
          <pc:docMk/>
          <pc:sldMk cId="1808858673" sldId="3475"/>
        </pc:sldMkLst>
        <pc:spChg chg="del">
          <ac:chgData name="Marianne Sinead Flesland" userId="S::mariasfl@uio.no::facc3627-c0de-4b78-919d-1b6bf2dc9821" providerId="AD" clId="Web-{6306C024-E921-47D7-999A-6B3C49B6C397}" dt="2022-10-18T07:22:47.104" v="48"/>
          <ac:spMkLst>
            <pc:docMk/>
            <pc:sldMk cId="1808858673" sldId="3475"/>
            <ac:spMk id="2" creationId="{4E3638F8-B05E-7F3F-E8B4-C45F691016D2}"/>
          </ac:spMkLst>
        </pc:spChg>
        <pc:spChg chg="mod">
          <ac:chgData name="Marianne Sinead Flesland" userId="S::mariasfl@uio.no::facc3627-c0de-4b78-919d-1b6bf2dc9821" providerId="AD" clId="Web-{6306C024-E921-47D7-999A-6B3C49B6C397}" dt="2022-10-18T07:22:18.588" v="47" actId="20577"/>
          <ac:spMkLst>
            <pc:docMk/>
            <pc:sldMk cId="1808858673" sldId="3475"/>
            <ac:spMk id="5" creationId="{B5FA7AFE-9034-887D-C90D-C94450045B38}"/>
          </ac:spMkLst>
        </pc:spChg>
        <pc:graphicFrameChg chg="add mod ord modGraphic">
          <ac:chgData name="Marianne Sinead Flesland" userId="S::mariasfl@uio.no::facc3627-c0de-4b78-919d-1b6bf2dc9821" providerId="AD" clId="Web-{6306C024-E921-47D7-999A-6B3C49B6C397}" dt="2022-10-18T07:24:03.151" v="162"/>
          <ac:graphicFrameMkLst>
            <pc:docMk/>
            <pc:sldMk cId="1808858673" sldId="3475"/>
            <ac:graphicFrameMk id="6" creationId="{72F008B8-46CE-2E94-48B5-A1F28C56B4DB}"/>
          </ac:graphicFrameMkLst>
        </pc:graphicFrameChg>
      </pc:sldChg>
    </pc:docChg>
  </pc:docChgLst>
  <pc:docChgLst>
    <pc:chgData name="Marianne Sinead Flesland" userId="S::mariasfl@uio.no::facc3627-c0de-4b78-919d-1b6bf2dc9821" providerId="AD" clId="Web-{1687713F-876E-1B04-9379-CFA3BF7AE387}"/>
    <pc:docChg chg="delSld modSld sldOrd">
      <pc:chgData name="Marianne Sinead Flesland" userId="S::mariasfl@uio.no::facc3627-c0de-4b78-919d-1b6bf2dc9821" providerId="AD" clId="Web-{1687713F-876E-1B04-9379-CFA3BF7AE387}" dt="2022-10-14T14:12:06.390" v="251" actId="20577"/>
      <pc:docMkLst>
        <pc:docMk/>
      </pc:docMkLst>
      <pc:sldChg chg="ord">
        <pc:chgData name="Marianne Sinead Flesland" userId="S::mariasfl@uio.no::facc3627-c0de-4b78-919d-1b6bf2dc9821" providerId="AD" clId="Web-{1687713F-876E-1B04-9379-CFA3BF7AE387}" dt="2022-10-14T14:10:27.045" v="240"/>
        <pc:sldMkLst>
          <pc:docMk/>
          <pc:sldMk cId="2559118045" sldId="265"/>
        </pc:sldMkLst>
      </pc:sldChg>
      <pc:sldChg chg="delSp modSp">
        <pc:chgData name="Marianne Sinead Flesland" userId="S::mariasfl@uio.no::facc3627-c0de-4b78-919d-1b6bf2dc9821" providerId="AD" clId="Web-{1687713F-876E-1B04-9379-CFA3BF7AE387}" dt="2022-10-14T14:05:30.900" v="205" actId="1076"/>
        <pc:sldMkLst>
          <pc:docMk/>
          <pc:sldMk cId="3689103261" sldId="780"/>
        </pc:sldMkLst>
        <pc:spChg chg="mod">
          <ac:chgData name="Marianne Sinead Flesland" userId="S::mariasfl@uio.no::facc3627-c0de-4b78-919d-1b6bf2dc9821" providerId="AD" clId="Web-{1687713F-876E-1B04-9379-CFA3BF7AE387}" dt="2022-10-14T14:05:22.681" v="202" actId="20577"/>
          <ac:spMkLst>
            <pc:docMk/>
            <pc:sldMk cId="3689103261" sldId="780"/>
            <ac:spMk id="3" creationId="{00000000-0000-0000-0000-000000000000}"/>
          </ac:spMkLst>
        </pc:spChg>
        <pc:picChg chg="mod">
          <ac:chgData name="Marianne Sinead Flesland" userId="S::mariasfl@uio.no::facc3627-c0de-4b78-919d-1b6bf2dc9821" providerId="AD" clId="Web-{1687713F-876E-1B04-9379-CFA3BF7AE387}" dt="2022-10-14T14:05:27.885" v="204" actId="1076"/>
          <ac:picMkLst>
            <pc:docMk/>
            <pc:sldMk cId="3689103261" sldId="780"/>
            <ac:picMk id="5" creationId="{21AF0020-F9EE-44E6-A5AC-10655502E146}"/>
          </ac:picMkLst>
        </pc:picChg>
        <pc:picChg chg="mod">
          <ac:chgData name="Marianne Sinead Flesland" userId="S::mariasfl@uio.no::facc3627-c0de-4b78-919d-1b6bf2dc9821" providerId="AD" clId="Web-{1687713F-876E-1B04-9379-CFA3BF7AE387}" dt="2022-10-14T14:05:30.900" v="205" actId="1076"/>
          <ac:picMkLst>
            <pc:docMk/>
            <pc:sldMk cId="3689103261" sldId="780"/>
            <ac:picMk id="6" creationId="{95409138-A926-4D15-9937-9F952C4BCE93}"/>
          </ac:picMkLst>
        </pc:picChg>
        <pc:picChg chg="del">
          <ac:chgData name="Marianne Sinead Flesland" userId="S::mariasfl@uio.no::facc3627-c0de-4b78-919d-1b6bf2dc9821" providerId="AD" clId="Web-{1687713F-876E-1B04-9379-CFA3BF7AE387}" dt="2022-10-14T14:05:23.322" v="203"/>
          <ac:picMkLst>
            <pc:docMk/>
            <pc:sldMk cId="3689103261" sldId="780"/>
            <ac:picMk id="15" creationId="{31D17D32-900E-4257-9951-1E6D1FC57DEC}"/>
          </ac:picMkLst>
        </pc:picChg>
      </pc:sldChg>
      <pc:sldChg chg="modSp">
        <pc:chgData name="Marianne Sinead Flesland" userId="S::mariasfl@uio.no::facc3627-c0de-4b78-919d-1b6bf2dc9821" providerId="AD" clId="Web-{1687713F-876E-1B04-9379-CFA3BF7AE387}" dt="2022-10-14T14:05:10.462" v="200" actId="20577"/>
        <pc:sldMkLst>
          <pc:docMk/>
          <pc:sldMk cId="4080940158" sldId="781"/>
        </pc:sldMkLst>
        <pc:spChg chg="mod">
          <ac:chgData name="Marianne Sinead Flesland" userId="S::mariasfl@uio.no::facc3627-c0de-4b78-919d-1b6bf2dc9821" providerId="AD" clId="Web-{1687713F-876E-1B04-9379-CFA3BF7AE387}" dt="2022-10-14T14:05:10.462" v="200" actId="20577"/>
          <ac:spMkLst>
            <pc:docMk/>
            <pc:sldMk cId="4080940158" sldId="781"/>
            <ac:spMk id="3" creationId="{A4B63BBB-7669-4F07-8E7A-85307397D92E}"/>
          </ac:spMkLst>
        </pc:spChg>
      </pc:sldChg>
      <pc:sldChg chg="delSp modSp">
        <pc:chgData name="Marianne Sinead Flesland" userId="S::mariasfl@uio.no::facc3627-c0de-4b78-919d-1b6bf2dc9821" providerId="AD" clId="Web-{1687713F-876E-1B04-9379-CFA3BF7AE387}" dt="2022-10-14T14:08:11.277" v="234" actId="20577"/>
        <pc:sldMkLst>
          <pc:docMk/>
          <pc:sldMk cId="89210685" sldId="3406"/>
        </pc:sldMkLst>
        <pc:spChg chg="mod">
          <ac:chgData name="Marianne Sinead Flesland" userId="S::mariasfl@uio.no::facc3627-c0de-4b78-919d-1b6bf2dc9821" providerId="AD" clId="Web-{1687713F-876E-1B04-9379-CFA3BF7AE387}" dt="2022-10-14T14:08:11.277" v="234" actId="20577"/>
          <ac:spMkLst>
            <pc:docMk/>
            <pc:sldMk cId="89210685" sldId="3406"/>
            <ac:spMk id="2" creationId="{D945ADC1-9B98-46C7-903A-4D22407B510A}"/>
          </ac:spMkLst>
        </pc:spChg>
        <pc:spChg chg="del">
          <ac:chgData name="Marianne Sinead Flesland" userId="S::mariasfl@uio.no::facc3627-c0de-4b78-919d-1b6bf2dc9821" providerId="AD" clId="Web-{1687713F-876E-1B04-9379-CFA3BF7AE387}" dt="2022-10-14T14:07:08.214" v="214"/>
          <ac:spMkLst>
            <pc:docMk/>
            <pc:sldMk cId="89210685" sldId="3406"/>
            <ac:spMk id="6" creationId="{410AC410-D039-4601-B340-4BE3B598B1F6}"/>
          </ac:spMkLst>
        </pc:spChg>
      </pc:sldChg>
      <pc:sldChg chg="del">
        <pc:chgData name="Marianne Sinead Flesland" userId="S::mariasfl@uio.no::facc3627-c0de-4b78-919d-1b6bf2dc9821" providerId="AD" clId="Web-{1687713F-876E-1B04-9379-CFA3BF7AE387}" dt="2022-10-14T14:06:31.839" v="210"/>
        <pc:sldMkLst>
          <pc:docMk/>
          <pc:sldMk cId="3935534384" sldId="3436"/>
        </pc:sldMkLst>
      </pc:sldChg>
      <pc:sldChg chg="modSp ord">
        <pc:chgData name="Marianne Sinead Flesland" userId="S::mariasfl@uio.no::facc3627-c0de-4b78-919d-1b6bf2dc9821" providerId="AD" clId="Web-{1687713F-876E-1B04-9379-CFA3BF7AE387}" dt="2022-10-14T14:12:06.390" v="251" actId="20577"/>
        <pc:sldMkLst>
          <pc:docMk/>
          <pc:sldMk cId="3072874987" sldId="3445"/>
        </pc:sldMkLst>
        <pc:spChg chg="mod">
          <ac:chgData name="Marianne Sinead Flesland" userId="S::mariasfl@uio.no::facc3627-c0de-4b78-919d-1b6bf2dc9821" providerId="AD" clId="Web-{1687713F-876E-1B04-9379-CFA3BF7AE387}" dt="2022-10-14T14:12:06.390" v="251" actId="20577"/>
          <ac:spMkLst>
            <pc:docMk/>
            <pc:sldMk cId="3072874987" sldId="3445"/>
            <ac:spMk id="5" creationId="{4EC3587D-FF28-46CF-9F45-593D1516FD01}"/>
          </ac:spMkLst>
        </pc:spChg>
      </pc:sldChg>
      <pc:sldChg chg="del">
        <pc:chgData name="Marianne Sinead Flesland" userId="S::mariasfl@uio.no::facc3627-c0de-4b78-919d-1b6bf2dc9821" providerId="AD" clId="Web-{1687713F-876E-1B04-9379-CFA3BF7AE387}" dt="2022-10-14T14:05:42.354" v="206"/>
        <pc:sldMkLst>
          <pc:docMk/>
          <pc:sldMk cId="1447875818" sldId="3446"/>
        </pc:sldMkLst>
      </pc:sldChg>
      <pc:sldChg chg="ord">
        <pc:chgData name="Marianne Sinead Flesland" userId="S::mariasfl@uio.no::facc3627-c0de-4b78-919d-1b6bf2dc9821" providerId="AD" clId="Web-{1687713F-876E-1B04-9379-CFA3BF7AE387}" dt="2022-10-14T14:10:27.045" v="239"/>
        <pc:sldMkLst>
          <pc:docMk/>
          <pc:sldMk cId="3400725218" sldId="3454"/>
        </pc:sldMkLst>
      </pc:sldChg>
    </pc:docChg>
  </pc:docChgLst>
  <pc:docChgLst>
    <pc:chgData name="Jon Christian Ottersen" userId="319dd709-9224-4f40-a9aa-4a008ebcaa5b" providerId="ADAL" clId="{07DAD149-98DE-4A61-B2AA-FEF3ACCCE9F9}"/>
    <pc:docChg chg="undo custSel delSld modSld">
      <pc:chgData name="Jon Christian Ottersen" userId="319dd709-9224-4f40-a9aa-4a008ebcaa5b" providerId="ADAL" clId="{07DAD149-98DE-4A61-B2AA-FEF3ACCCE9F9}" dt="2022-10-18T08:43:55.182" v="2534" actId="6549"/>
      <pc:docMkLst>
        <pc:docMk/>
      </pc:docMkLst>
      <pc:sldChg chg="del">
        <pc:chgData name="Jon Christian Ottersen" userId="319dd709-9224-4f40-a9aa-4a008ebcaa5b" providerId="ADAL" clId="{07DAD149-98DE-4A61-B2AA-FEF3ACCCE9F9}" dt="2022-10-18T08:32:50.770" v="2289" actId="47"/>
        <pc:sldMkLst>
          <pc:docMk/>
          <pc:sldMk cId="1245801980" sldId="3434"/>
        </pc:sldMkLst>
      </pc:sldChg>
      <pc:sldChg chg="del">
        <pc:chgData name="Jon Christian Ottersen" userId="319dd709-9224-4f40-a9aa-4a008ebcaa5b" providerId="ADAL" clId="{07DAD149-98DE-4A61-B2AA-FEF3ACCCE9F9}" dt="2022-10-18T06:40:27.254" v="0" actId="47"/>
        <pc:sldMkLst>
          <pc:docMk/>
          <pc:sldMk cId="2780007523" sldId="3436"/>
        </pc:sldMkLst>
      </pc:sldChg>
      <pc:sldChg chg="del">
        <pc:chgData name="Jon Christian Ottersen" userId="319dd709-9224-4f40-a9aa-4a008ebcaa5b" providerId="ADAL" clId="{07DAD149-98DE-4A61-B2AA-FEF3ACCCE9F9}" dt="2022-10-18T06:40:27.254" v="0" actId="47"/>
        <pc:sldMkLst>
          <pc:docMk/>
          <pc:sldMk cId="4115641262" sldId="3438"/>
        </pc:sldMkLst>
      </pc:sldChg>
      <pc:sldChg chg="del">
        <pc:chgData name="Jon Christian Ottersen" userId="319dd709-9224-4f40-a9aa-4a008ebcaa5b" providerId="ADAL" clId="{07DAD149-98DE-4A61-B2AA-FEF3ACCCE9F9}" dt="2022-10-18T06:40:27.254" v="0" actId="47"/>
        <pc:sldMkLst>
          <pc:docMk/>
          <pc:sldMk cId="3928261263" sldId="3439"/>
        </pc:sldMkLst>
      </pc:sldChg>
      <pc:sldChg chg="del">
        <pc:chgData name="Jon Christian Ottersen" userId="319dd709-9224-4f40-a9aa-4a008ebcaa5b" providerId="ADAL" clId="{07DAD149-98DE-4A61-B2AA-FEF3ACCCE9F9}" dt="2022-10-18T06:40:27.254" v="0" actId="47"/>
        <pc:sldMkLst>
          <pc:docMk/>
          <pc:sldMk cId="1840083007" sldId="3441"/>
        </pc:sldMkLst>
      </pc:sldChg>
      <pc:sldChg chg="del">
        <pc:chgData name="Jon Christian Ottersen" userId="319dd709-9224-4f40-a9aa-4a008ebcaa5b" providerId="ADAL" clId="{07DAD149-98DE-4A61-B2AA-FEF3ACCCE9F9}" dt="2022-10-18T06:40:27.254" v="0" actId="47"/>
        <pc:sldMkLst>
          <pc:docMk/>
          <pc:sldMk cId="61010602" sldId="3464"/>
        </pc:sldMkLst>
      </pc:sldChg>
      <pc:sldChg chg="modSp mod">
        <pc:chgData name="Jon Christian Ottersen" userId="319dd709-9224-4f40-a9aa-4a008ebcaa5b" providerId="ADAL" clId="{07DAD149-98DE-4A61-B2AA-FEF3ACCCE9F9}" dt="2022-10-18T08:41:35.176" v="2394" actId="20577"/>
        <pc:sldMkLst>
          <pc:docMk/>
          <pc:sldMk cId="2432121995" sldId="3470"/>
        </pc:sldMkLst>
        <pc:spChg chg="mod">
          <ac:chgData name="Jon Christian Ottersen" userId="319dd709-9224-4f40-a9aa-4a008ebcaa5b" providerId="ADAL" clId="{07DAD149-98DE-4A61-B2AA-FEF3ACCCE9F9}" dt="2022-10-18T08:41:35.176" v="2394" actId="20577"/>
          <ac:spMkLst>
            <pc:docMk/>
            <pc:sldMk cId="2432121995" sldId="3470"/>
            <ac:spMk id="2" creationId="{A2739F31-11A8-4BD0-9AD2-51D2A681CA1C}"/>
          </ac:spMkLst>
        </pc:spChg>
      </pc:sldChg>
      <pc:sldChg chg="modSp mod">
        <pc:chgData name="Jon Christian Ottersen" userId="319dd709-9224-4f40-a9aa-4a008ebcaa5b" providerId="ADAL" clId="{07DAD149-98DE-4A61-B2AA-FEF3ACCCE9F9}" dt="2022-10-18T08:01:08.111" v="561" actId="20577"/>
        <pc:sldMkLst>
          <pc:docMk/>
          <pc:sldMk cId="1425540526" sldId="3471"/>
        </pc:sldMkLst>
        <pc:spChg chg="mod">
          <ac:chgData name="Jon Christian Ottersen" userId="319dd709-9224-4f40-a9aa-4a008ebcaa5b" providerId="ADAL" clId="{07DAD149-98DE-4A61-B2AA-FEF3ACCCE9F9}" dt="2022-10-18T08:01:08.111" v="561" actId="20577"/>
          <ac:spMkLst>
            <pc:docMk/>
            <pc:sldMk cId="1425540526" sldId="3471"/>
            <ac:spMk id="2" creationId="{A2739F31-11A8-4BD0-9AD2-51D2A681CA1C}"/>
          </ac:spMkLst>
        </pc:spChg>
      </pc:sldChg>
      <pc:sldChg chg="modSp mod">
        <pc:chgData name="Jon Christian Ottersen" userId="319dd709-9224-4f40-a9aa-4a008ebcaa5b" providerId="ADAL" clId="{07DAD149-98DE-4A61-B2AA-FEF3ACCCE9F9}" dt="2022-10-18T08:12:37.577" v="1003" actId="20577"/>
        <pc:sldMkLst>
          <pc:docMk/>
          <pc:sldMk cId="1273981335" sldId="3472"/>
        </pc:sldMkLst>
        <pc:spChg chg="mod">
          <ac:chgData name="Jon Christian Ottersen" userId="319dd709-9224-4f40-a9aa-4a008ebcaa5b" providerId="ADAL" clId="{07DAD149-98DE-4A61-B2AA-FEF3ACCCE9F9}" dt="2022-10-18T08:12:37.577" v="1003" actId="20577"/>
          <ac:spMkLst>
            <pc:docMk/>
            <pc:sldMk cId="1273981335" sldId="3472"/>
            <ac:spMk id="2" creationId="{19480BE1-FD0A-44D6-BE25-DCFB48FCDEF1}"/>
          </ac:spMkLst>
        </pc:spChg>
      </pc:sldChg>
      <pc:sldChg chg="modSp mod">
        <pc:chgData name="Jon Christian Ottersen" userId="319dd709-9224-4f40-a9aa-4a008ebcaa5b" providerId="ADAL" clId="{07DAD149-98DE-4A61-B2AA-FEF3ACCCE9F9}" dt="2022-10-18T08:35:46.120" v="2358" actId="20577"/>
        <pc:sldMkLst>
          <pc:docMk/>
          <pc:sldMk cId="1356569296" sldId="3473"/>
        </pc:sldMkLst>
        <pc:spChg chg="mod">
          <ac:chgData name="Jon Christian Ottersen" userId="319dd709-9224-4f40-a9aa-4a008ebcaa5b" providerId="ADAL" clId="{07DAD149-98DE-4A61-B2AA-FEF3ACCCE9F9}" dt="2022-10-18T08:35:46.120" v="2358" actId="20577"/>
          <ac:spMkLst>
            <pc:docMk/>
            <pc:sldMk cId="1356569296" sldId="3473"/>
            <ac:spMk id="2" creationId="{19480BE1-FD0A-44D6-BE25-DCFB48FCDEF1}"/>
          </ac:spMkLst>
        </pc:spChg>
      </pc:sldChg>
      <pc:sldChg chg="modSp mod">
        <pc:chgData name="Jon Christian Ottersen" userId="319dd709-9224-4f40-a9aa-4a008ebcaa5b" providerId="ADAL" clId="{07DAD149-98DE-4A61-B2AA-FEF3ACCCE9F9}" dt="2022-10-18T08:43:55.182" v="2534" actId="6549"/>
        <pc:sldMkLst>
          <pc:docMk/>
          <pc:sldMk cId="1318996029" sldId="3474"/>
        </pc:sldMkLst>
        <pc:spChg chg="mod">
          <ac:chgData name="Jon Christian Ottersen" userId="319dd709-9224-4f40-a9aa-4a008ebcaa5b" providerId="ADAL" clId="{07DAD149-98DE-4A61-B2AA-FEF3ACCCE9F9}" dt="2022-10-18T08:43:55.182" v="2534" actId="6549"/>
          <ac:spMkLst>
            <pc:docMk/>
            <pc:sldMk cId="1318996029" sldId="3474"/>
            <ac:spMk id="2" creationId="{DA4DBF6E-56D0-4146-AD0E-36C8D3CBCF25}"/>
          </ac:spMkLst>
        </pc:spChg>
      </pc:sldChg>
    </pc:docChg>
  </pc:docChgLst>
  <pc:docChgLst>
    <pc:chgData name="Jon Christian Ottersen" userId="319dd709-9224-4f40-a9aa-4a008ebcaa5b" providerId="ADAL" clId="{5CF8D051-29BE-4D34-AD69-4CD2B0CA6589}"/>
    <pc:docChg chg="modSld">
      <pc:chgData name="Jon Christian Ottersen" userId="319dd709-9224-4f40-a9aa-4a008ebcaa5b" providerId="ADAL" clId="{5CF8D051-29BE-4D34-AD69-4CD2B0CA6589}" dt="2022-10-25T08:32:46.339" v="0" actId="20578"/>
      <pc:docMkLst>
        <pc:docMk/>
      </pc:docMkLst>
      <pc:sldChg chg="modSp">
        <pc:chgData name="Jon Christian Ottersen" userId="319dd709-9224-4f40-a9aa-4a008ebcaa5b" providerId="ADAL" clId="{5CF8D051-29BE-4D34-AD69-4CD2B0CA6589}" dt="2022-10-25T08:32:46.339" v="0" actId="20578"/>
        <pc:sldMkLst>
          <pc:docMk/>
          <pc:sldMk cId="2432121995" sldId="3470"/>
        </pc:sldMkLst>
        <pc:spChg chg="mod">
          <ac:chgData name="Jon Christian Ottersen" userId="319dd709-9224-4f40-a9aa-4a008ebcaa5b" providerId="ADAL" clId="{5CF8D051-29BE-4D34-AD69-4CD2B0CA6589}" dt="2022-10-25T08:32:46.339" v="0" actId="20578"/>
          <ac:spMkLst>
            <pc:docMk/>
            <pc:sldMk cId="2432121995" sldId="3470"/>
            <ac:spMk id="2" creationId="{A2739F31-11A8-4BD0-9AD2-51D2A681CA1C}"/>
          </ac:spMkLst>
        </pc:spChg>
      </pc:sldChg>
    </pc:docChg>
  </pc:docChgLst>
  <pc:docChgLst>
    <pc:chgData name="Marit Kristine Olli Helgesen" userId="9d3b7e0e-fd4b-436d-b9eb-392ad34776eb" providerId="ADAL" clId="{B0FA6A90-7954-4D43-A653-730DA55BC50D}"/>
    <pc:docChg chg="custSel addSld delSld modSld modNotesMaster modHandout">
      <pc:chgData name="Marit Kristine Olli Helgesen" userId="9d3b7e0e-fd4b-436d-b9eb-392ad34776eb" providerId="ADAL" clId="{B0FA6A90-7954-4D43-A653-730DA55BC50D}" dt="2022-10-18T12:54:43.194" v="188" actId="2696"/>
      <pc:docMkLst>
        <pc:docMk/>
      </pc:docMkLst>
      <pc:sldChg chg="del">
        <pc:chgData name="Marit Kristine Olli Helgesen" userId="9d3b7e0e-fd4b-436d-b9eb-392ad34776eb" providerId="ADAL" clId="{B0FA6A90-7954-4D43-A653-730DA55BC50D}" dt="2022-10-18T12:54:43.194" v="188" actId="2696"/>
        <pc:sldMkLst>
          <pc:docMk/>
          <pc:sldMk cId="3086339318" sldId="3427"/>
        </pc:sldMkLst>
      </pc:sldChg>
      <pc:sldChg chg="add">
        <pc:chgData name="Marit Kristine Olli Helgesen" userId="9d3b7e0e-fd4b-436d-b9eb-392ad34776eb" providerId="ADAL" clId="{B0FA6A90-7954-4D43-A653-730DA55BC50D}" dt="2022-10-17T15:46:47.625" v="0"/>
        <pc:sldMkLst>
          <pc:docMk/>
          <pc:sldMk cId="2780007523" sldId="3436"/>
        </pc:sldMkLst>
      </pc:sldChg>
      <pc:sldChg chg="del">
        <pc:chgData name="Marit Kristine Olli Helgesen" userId="9d3b7e0e-fd4b-436d-b9eb-392ad34776eb" providerId="ADAL" clId="{B0FA6A90-7954-4D43-A653-730DA55BC50D}" dt="2022-10-18T12:54:34.239" v="187" actId="2696"/>
        <pc:sldMkLst>
          <pc:docMk/>
          <pc:sldMk cId="1447275536" sldId="3437"/>
        </pc:sldMkLst>
      </pc:sldChg>
      <pc:sldChg chg="add">
        <pc:chgData name="Marit Kristine Olli Helgesen" userId="9d3b7e0e-fd4b-436d-b9eb-392ad34776eb" providerId="ADAL" clId="{B0FA6A90-7954-4D43-A653-730DA55BC50D}" dt="2022-10-17T15:46:47.625" v="0"/>
        <pc:sldMkLst>
          <pc:docMk/>
          <pc:sldMk cId="4115641262" sldId="3438"/>
        </pc:sldMkLst>
      </pc:sldChg>
      <pc:sldChg chg="add">
        <pc:chgData name="Marit Kristine Olli Helgesen" userId="9d3b7e0e-fd4b-436d-b9eb-392ad34776eb" providerId="ADAL" clId="{B0FA6A90-7954-4D43-A653-730DA55BC50D}" dt="2022-10-17T15:46:47.625" v="0"/>
        <pc:sldMkLst>
          <pc:docMk/>
          <pc:sldMk cId="3928261263" sldId="3439"/>
        </pc:sldMkLst>
      </pc:sldChg>
      <pc:sldChg chg="add">
        <pc:chgData name="Marit Kristine Olli Helgesen" userId="9d3b7e0e-fd4b-436d-b9eb-392ad34776eb" providerId="ADAL" clId="{B0FA6A90-7954-4D43-A653-730DA55BC50D}" dt="2022-10-17T15:46:47.625" v="0"/>
        <pc:sldMkLst>
          <pc:docMk/>
          <pc:sldMk cId="1840083007" sldId="3441"/>
        </pc:sldMkLst>
      </pc:sldChg>
      <pc:sldChg chg="del">
        <pc:chgData name="Marit Kristine Olli Helgesen" userId="9d3b7e0e-fd4b-436d-b9eb-392ad34776eb" providerId="ADAL" clId="{B0FA6A90-7954-4D43-A653-730DA55BC50D}" dt="2022-10-18T12:54:14.990" v="185" actId="2696"/>
        <pc:sldMkLst>
          <pc:docMk/>
          <pc:sldMk cId="433138105" sldId="3453"/>
        </pc:sldMkLst>
      </pc:sldChg>
      <pc:sldChg chg="del">
        <pc:chgData name="Marit Kristine Olli Helgesen" userId="9d3b7e0e-fd4b-436d-b9eb-392ad34776eb" providerId="ADAL" clId="{B0FA6A90-7954-4D43-A653-730DA55BC50D}" dt="2022-10-18T12:54:27.968" v="186" actId="2696"/>
        <pc:sldMkLst>
          <pc:docMk/>
          <pc:sldMk cId="1463472910" sldId="3455"/>
        </pc:sldMkLst>
      </pc:sldChg>
      <pc:sldChg chg="addSp delSp modSp mod">
        <pc:chgData name="Marit Kristine Olli Helgesen" userId="9d3b7e0e-fd4b-436d-b9eb-392ad34776eb" providerId="ADAL" clId="{B0FA6A90-7954-4D43-A653-730DA55BC50D}" dt="2022-10-18T08:47:35.538" v="175" actId="14100"/>
        <pc:sldMkLst>
          <pc:docMk/>
          <pc:sldMk cId="1327334628" sldId="3458"/>
        </pc:sldMkLst>
        <pc:spChg chg="add del mod">
          <ac:chgData name="Marit Kristine Olli Helgesen" userId="9d3b7e0e-fd4b-436d-b9eb-392ad34776eb" providerId="ADAL" clId="{B0FA6A90-7954-4D43-A653-730DA55BC50D}" dt="2022-10-18T08:45:06.770" v="28" actId="478"/>
          <ac:spMkLst>
            <pc:docMk/>
            <pc:sldMk cId="1327334628" sldId="3458"/>
            <ac:spMk id="3" creationId="{6C99E5E8-6E1A-48DF-8F01-31E4D7540CD9}"/>
          </ac:spMkLst>
        </pc:spChg>
        <pc:spChg chg="mod">
          <ac:chgData name="Marit Kristine Olli Helgesen" userId="9d3b7e0e-fd4b-436d-b9eb-392ad34776eb" providerId="ADAL" clId="{B0FA6A90-7954-4D43-A653-730DA55BC50D}" dt="2022-10-18T08:43:39.309" v="6" actId="20577"/>
          <ac:spMkLst>
            <pc:docMk/>
            <pc:sldMk cId="1327334628" sldId="3458"/>
            <ac:spMk id="8" creationId="{00000000-0000-0000-0000-000000000000}"/>
          </ac:spMkLst>
        </pc:spChg>
        <pc:spChg chg="add mod">
          <ac:chgData name="Marit Kristine Olli Helgesen" userId="9d3b7e0e-fd4b-436d-b9eb-392ad34776eb" providerId="ADAL" clId="{B0FA6A90-7954-4D43-A653-730DA55BC50D}" dt="2022-10-18T08:45:52.681" v="88" actId="20577"/>
          <ac:spMkLst>
            <pc:docMk/>
            <pc:sldMk cId="1327334628" sldId="3458"/>
            <ac:spMk id="9" creationId="{975DE52C-4ECC-4A33-BFC5-71D475920094}"/>
          </ac:spMkLst>
        </pc:spChg>
        <pc:spChg chg="add mod">
          <ac:chgData name="Marit Kristine Olli Helgesen" userId="9d3b7e0e-fd4b-436d-b9eb-392ad34776eb" providerId="ADAL" clId="{B0FA6A90-7954-4D43-A653-730DA55BC50D}" dt="2022-10-18T08:47:35.538" v="175" actId="14100"/>
          <ac:spMkLst>
            <pc:docMk/>
            <pc:sldMk cId="1327334628" sldId="3458"/>
            <ac:spMk id="10" creationId="{CE80724B-E40B-410F-B620-7662A3A734B9}"/>
          </ac:spMkLst>
        </pc:spChg>
      </pc:sldChg>
      <pc:sldChg chg="modSp mod">
        <pc:chgData name="Marit Kristine Olli Helgesen" userId="9d3b7e0e-fd4b-436d-b9eb-392ad34776eb" providerId="ADAL" clId="{B0FA6A90-7954-4D43-A653-730DA55BC50D}" dt="2022-10-18T09:13:47.485" v="184" actId="1076"/>
        <pc:sldMkLst>
          <pc:docMk/>
          <pc:sldMk cId="1770456514" sldId="3461"/>
        </pc:sldMkLst>
        <pc:spChg chg="mod">
          <ac:chgData name="Marit Kristine Olli Helgesen" userId="9d3b7e0e-fd4b-436d-b9eb-392ad34776eb" providerId="ADAL" clId="{B0FA6A90-7954-4D43-A653-730DA55BC50D}" dt="2022-10-18T09:13:47.485" v="184" actId="1076"/>
          <ac:spMkLst>
            <pc:docMk/>
            <pc:sldMk cId="1770456514" sldId="3461"/>
            <ac:spMk id="8" creationId="{00000000-0000-0000-0000-000000000000}"/>
          </ac:spMkLst>
        </pc:spChg>
      </pc:sldChg>
      <pc:sldChg chg="del">
        <pc:chgData name="Marit Kristine Olli Helgesen" userId="9d3b7e0e-fd4b-436d-b9eb-392ad34776eb" providerId="ADAL" clId="{B0FA6A90-7954-4D43-A653-730DA55BC50D}" dt="2022-10-18T08:32:42.596" v="2" actId="2696"/>
        <pc:sldMkLst>
          <pc:docMk/>
          <pc:sldMk cId="3723001141" sldId="3463"/>
        </pc:sldMkLst>
      </pc:sldChg>
      <pc:sldChg chg="add">
        <pc:chgData name="Marit Kristine Olli Helgesen" userId="9d3b7e0e-fd4b-436d-b9eb-392ad34776eb" providerId="ADAL" clId="{B0FA6A90-7954-4D43-A653-730DA55BC50D}" dt="2022-10-17T15:46:47.625" v="0"/>
        <pc:sldMkLst>
          <pc:docMk/>
          <pc:sldMk cId="61010602" sldId="3464"/>
        </pc:sldMkLst>
      </pc:sldChg>
    </pc:docChg>
  </pc:docChgLst>
  <pc:docChgLst>
    <pc:chgData name="Marianne Sinead Flesland" userId="S::mariasfl@uio.no::facc3627-c0de-4b78-919d-1b6bf2dc9821" providerId="AD" clId="Web-{2E619D53-2E97-258A-69E3-1E5664B56D35}"/>
    <pc:docChg chg="addSld delSld modSld sldOrd">
      <pc:chgData name="Marianne Sinead Flesland" userId="S::mariasfl@uio.no::facc3627-c0de-4b78-919d-1b6bf2dc9821" providerId="AD" clId="Web-{2E619D53-2E97-258A-69E3-1E5664B56D35}" dt="2022-10-18T09:06:12.845" v="2298" actId="20577"/>
      <pc:docMkLst>
        <pc:docMk/>
      </pc:docMkLst>
      <pc:sldChg chg="modSp">
        <pc:chgData name="Marianne Sinead Flesland" userId="S::mariasfl@uio.no::facc3627-c0de-4b78-919d-1b6bf2dc9821" providerId="AD" clId="Web-{2E619D53-2E97-258A-69E3-1E5664B56D35}" dt="2022-10-17T19:42:09.189" v="1214" actId="20577"/>
        <pc:sldMkLst>
          <pc:docMk/>
          <pc:sldMk cId="2559118045" sldId="265"/>
        </pc:sldMkLst>
        <pc:spChg chg="mod">
          <ac:chgData name="Marianne Sinead Flesland" userId="S::mariasfl@uio.no::facc3627-c0de-4b78-919d-1b6bf2dc9821" providerId="AD" clId="Web-{2E619D53-2E97-258A-69E3-1E5664B56D35}" dt="2022-10-17T19:42:09.189" v="1214" actId="20577"/>
          <ac:spMkLst>
            <pc:docMk/>
            <pc:sldMk cId="2559118045" sldId="265"/>
            <ac:spMk id="9" creationId="{E1E30382-FE5C-44BE-8C4F-383AEE569EF2}"/>
          </ac:spMkLst>
        </pc:spChg>
      </pc:sldChg>
      <pc:sldChg chg="del">
        <pc:chgData name="Marianne Sinead Flesland" userId="S::mariasfl@uio.no::facc3627-c0de-4b78-919d-1b6bf2dc9821" providerId="AD" clId="Web-{2E619D53-2E97-258A-69E3-1E5664B56D35}" dt="2022-10-17T18:02:41.054" v="3"/>
        <pc:sldMkLst>
          <pc:docMk/>
          <pc:sldMk cId="89210685" sldId="3406"/>
        </pc:sldMkLst>
      </pc:sldChg>
      <pc:sldChg chg="mod modShow">
        <pc:chgData name="Marianne Sinead Flesland" userId="S::mariasfl@uio.no::facc3627-c0de-4b78-919d-1b6bf2dc9821" providerId="AD" clId="Web-{2E619D53-2E97-258A-69E3-1E5664B56D35}" dt="2022-10-17T18:04:43.384" v="39"/>
        <pc:sldMkLst>
          <pc:docMk/>
          <pc:sldMk cId="3400725218" sldId="3454"/>
        </pc:sldMkLst>
      </pc:sldChg>
      <pc:sldChg chg="addSp delSp modSp new ord">
        <pc:chgData name="Marianne Sinead Flesland" userId="S::mariasfl@uio.no::facc3627-c0de-4b78-919d-1b6bf2dc9821" providerId="AD" clId="Web-{2E619D53-2E97-258A-69E3-1E5664B56D35}" dt="2022-10-18T08:26:33.803" v="2267" actId="1076"/>
        <pc:sldMkLst>
          <pc:docMk/>
          <pc:sldMk cId="3308984105" sldId="3465"/>
        </pc:sldMkLst>
        <pc:spChg chg="add del mod">
          <ac:chgData name="Marianne Sinead Flesland" userId="S::mariasfl@uio.no::facc3627-c0de-4b78-919d-1b6bf2dc9821" providerId="AD" clId="Web-{2E619D53-2E97-258A-69E3-1E5664B56D35}" dt="2022-10-18T08:17:02.216" v="2029"/>
          <ac:spMkLst>
            <pc:docMk/>
            <pc:sldMk cId="3308984105" sldId="3465"/>
            <ac:spMk id="2" creationId="{4B69A2D6-AF19-9832-59B9-0AFD6FC378E0}"/>
          </ac:spMkLst>
        </pc:spChg>
        <pc:spChg chg="del">
          <ac:chgData name="Marianne Sinead Flesland" userId="S::mariasfl@uio.no::facc3627-c0de-4b78-919d-1b6bf2dc9821" providerId="AD" clId="Web-{2E619D53-2E97-258A-69E3-1E5664B56D35}" dt="2022-10-17T18:10:37.793" v="61"/>
          <ac:spMkLst>
            <pc:docMk/>
            <pc:sldMk cId="3308984105" sldId="3465"/>
            <ac:spMk id="2" creationId="{ECD789E3-CE0C-B66E-5892-7F150D42938A}"/>
          </ac:spMkLst>
        </pc:spChg>
        <pc:spChg chg="mod">
          <ac:chgData name="Marianne Sinead Flesland" userId="S::mariasfl@uio.no::facc3627-c0de-4b78-919d-1b6bf2dc9821" providerId="AD" clId="Web-{2E619D53-2E97-258A-69E3-1E5664B56D35}" dt="2022-10-17T18:10:54.075" v="65" actId="20577"/>
          <ac:spMkLst>
            <pc:docMk/>
            <pc:sldMk cId="3308984105" sldId="3465"/>
            <ac:spMk id="3" creationId="{70DFAA3A-66A1-3EFE-F245-B9F7509339AB}"/>
          </ac:spMkLst>
        </pc:spChg>
        <pc:spChg chg="mod">
          <ac:chgData name="Marianne Sinead Flesland" userId="S::mariasfl@uio.no::facc3627-c0de-4b78-919d-1b6bf2dc9821" providerId="AD" clId="Web-{2E619D53-2E97-258A-69E3-1E5664B56D35}" dt="2022-10-17T18:48:43.472" v="712" actId="20577"/>
          <ac:spMkLst>
            <pc:docMk/>
            <pc:sldMk cId="3308984105" sldId="3465"/>
            <ac:spMk id="5" creationId="{0A839003-19ED-B90A-1E2C-FF015542E98E}"/>
          </ac:spMkLst>
        </pc:spChg>
        <pc:spChg chg="add mod">
          <ac:chgData name="Marianne Sinead Flesland" userId="S::mariasfl@uio.no::facc3627-c0de-4b78-919d-1b6bf2dc9821" providerId="AD" clId="Web-{2E619D53-2E97-258A-69E3-1E5664B56D35}" dt="2022-10-18T08:26:33.803" v="2267" actId="1076"/>
          <ac:spMkLst>
            <pc:docMk/>
            <pc:sldMk cId="3308984105" sldId="3465"/>
            <ac:spMk id="7" creationId="{21DA3623-30D1-B04A-D4B2-ABC12F6A1595}"/>
          </ac:spMkLst>
        </pc:spChg>
        <pc:spChg chg="add del mod">
          <ac:chgData name="Marianne Sinead Flesland" userId="S::mariasfl@uio.no::facc3627-c0de-4b78-919d-1b6bf2dc9821" providerId="AD" clId="Web-{2E619D53-2E97-258A-69E3-1E5664B56D35}" dt="2022-10-18T08:16:44.903" v="2025"/>
          <ac:spMkLst>
            <pc:docMk/>
            <pc:sldMk cId="3308984105" sldId="3465"/>
            <ac:spMk id="9" creationId="{336DB113-CDB5-76CC-83F9-11CEBE99BCFA}"/>
          </ac:spMkLst>
        </pc:spChg>
        <pc:spChg chg="add del mod">
          <ac:chgData name="Marianne Sinead Flesland" userId="S::mariasfl@uio.no::facc3627-c0de-4b78-919d-1b6bf2dc9821" providerId="AD" clId="Web-{2E619D53-2E97-258A-69E3-1E5664B56D35}" dt="2022-10-18T08:16:19.278" v="2020"/>
          <ac:spMkLst>
            <pc:docMk/>
            <pc:sldMk cId="3308984105" sldId="3465"/>
            <ac:spMk id="10" creationId="{A907D842-51B7-B988-5BFE-9CF07A2D0DDE}"/>
          </ac:spMkLst>
        </pc:spChg>
        <pc:spChg chg="add del mod">
          <ac:chgData name="Marianne Sinead Flesland" userId="S::mariasfl@uio.no::facc3627-c0de-4b78-919d-1b6bf2dc9821" providerId="AD" clId="Web-{2E619D53-2E97-258A-69E3-1E5664B56D35}" dt="2022-10-18T08:17:13.138" v="2033"/>
          <ac:spMkLst>
            <pc:docMk/>
            <pc:sldMk cId="3308984105" sldId="3465"/>
            <ac:spMk id="11" creationId="{4A630EB4-E0BB-A762-B3F3-302ED938108B}"/>
          </ac:spMkLst>
        </pc:spChg>
        <pc:spChg chg="add mod">
          <ac:chgData name="Marianne Sinead Flesland" userId="S::mariasfl@uio.no::facc3627-c0de-4b78-919d-1b6bf2dc9821" providerId="AD" clId="Web-{2E619D53-2E97-258A-69E3-1E5664B56D35}" dt="2022-10-18T08:26:18.569" v="2263" actId="14100"/>
          <ac:spMkLst>
            <pc:docMk/>
            <pc:sldMk cId="3308984105" sldId="3465"/>
            <ac:spMk id="13" creationId="{DECBDD3C-3FFC-0ED7-5DC0-0CCEC827B38F}"/>
          </ac:spMkLst>
        </pc:spChg>
        <pc:graphicFrameChg chg="add mod modGraphic">
          <ac:chgData name="Marianne Sinead Flesland" userId="S::mariasfl@uio.no::facc3627-c0de-4b78-919d-1b6bf2dc9821" providerId="AD" clId="Web-{2E619D53-2E97-258A-69E3-1E5664B56D35}" dt="2022-10-18T08:18:35.218" v="2061"/>
          <ac:graphicFrameMkLst>
            <pc:docMk/>
            <pc:sldMk cId="3308984105" sldId="3465"/>
            <ac:graphicFrameMk id="14" creationId="{3B0B5E0B-419F-14CA-D404-D76D280222D4}"/>
          </ac:graphicFrameMkLst>
        </pc:graphicFrameChg>
        <pc:picChg chg="add mod ord">
          <ac:chgData name="Marianne Sinead Flesland" userId="S::mariasfl@uio.no::facc3627-c0de-4b78-919d-1b6bf2dc9821" providerId="AD" clId="Web-{2E619D53-2E97-258A-69E3-1E5664B56D35}" dt="2022-10-18T08:26:25.788" v="2265" actId="1076"/>
          <ac:picMkLst>
            <pc:docMk/>
            <pc:sldMk cId="3308984105" sldId="3465"/>
            <ac:picMk id="6" creationId="{851EBF20-641C-E1D4-809F-C67A71624283}"/>
          </ac:picMkLst>
        </pc:picChg>
        <pc:picChg chg="add mod">
          <ac:chgData name="Marianne Sinead Flesland" userId="S::mariasfl@uio.no::facc3627-c0de-4b78-919d-1b6bf2dc9821" providerId="AD" clId="Web-{2E619D53-2E97-258A-69E3-1E5664B56D35}" dt="2022-10-18T08:26:21.944" v="2264" actId="1076"/>
          <ac:picMkLst>
            <pc:docMk/>
            <pc:sldMk cId="3308984105" sldId="3465"/>
            <ac:picMk id="8" creationId="{522E8A11-DEF8-1470-6F50-93C28CDCB694}"/>
          </ac:picMkLst>
        </pc:picChg>
        <pc:picChg chg="add del mod">
          <ac:chgData name="Marianne Sinead Flesland" userId="S::mariasfl@uio.no::facc3627-c0de-4b78-919d-1b6bf2dc9821" providerId="AD" clId="Web-{2E619D53-2E97-258A-69E3-1E5664B56D35}" dt="2022-10-17T18:36:34.950" v="301"/>
          <ac:picMkLst>
            <pc:docMk/>
            <pc:sldMk cId="3308984105" sldId="3465"/>
            <ac:picMk id="11" creationId="{C8BFEDCA-8CC3-2C6C-0F59-0AA7633F35B0}"/>
          </ac:picMkLst>
        </pc:picChg>
        <pc:picChg chg="add del mod">
          <ac:chgData name="Marianne Sinead Flesland" userId="S::mariasfl@uio.no::facc3627-c0de-4b78-919d-1b6bf2dc9821" providerId="AD" clId="Web-{2E619D53-2E97-258A-69E3-1E5664B56D35}" dt="2022-10-18T08:16:16.122" v="2019"/>
          <ac:picMkLst>
            <pc:docMk/>
            <pc:sldMk cId="3308984105" sldId="3465"/>
            <ac:picMk id="12" creationId="{BF1CB73D-0B8A-BD21-BDB9-DA5989C97784}"/>
          </ac:picMkLst>
        </pc:picChg>
      </pc:sldChg>
      <pc:sldChg chg="addSp delSp modSp new ord">
        <pc:chgData name="Marianne Sinead Flesland" userId="S::mariasfl@uio.no::facc3627-c0de-4b78-919d-1b6bf2dc9821" providerId="AD" clId="Web-{2E619D53-2E97-258A-69E3-1E5664B56D35}" dt="2022-10-17T19:46:20.628" v="1288"/>
        <pc:sldMkLst>
          <pc:docMk/>
          <pc:sldMk cId="3735024696" sldId="3466"/>
        </pc:sldMkLst>
        <pc:spChg chg="mod">
          <ac:chgData name="Marianne Sinead Flesland" userId="S::mariasfl@uio.no::facc3627-c0de-4b78-919d-1b6bf2dc9821" providerId="AD" clId="Web-{2E619D53-2E97-258A-69E3-1E5664B56D35}" dt="2022-10-17T19:44:02.658" v="1286" actId="20577"/>
          <ac:spMkLst>
            <pc:docMk/>
            <pc:sldMk cId="3735024696" sldId="3466"/>
            <ac:spMk id="2" creationId="{A432597C-FCBA-EECC-C754-D1673CF2C1E0}"/>
          </ac:spMkLst>
        </pc:spChg>
        <pc:spChg chg="mod">
          <ac:chgData name="Marianne Sinead Flesland" userId="S::mariasfl@uio.no::facc3627-c0de-4b78-919d-1b6bf2dc9821" providerId="AD" clId="Web-{2E619D53-2E97-258A-69E3-1E5664B56D35}" dt="2022-10-17T19:42:38.126" v="1217" actId="20577"/>
          <ac:spMkLst>
            <pc:docMk/>
            <pc:sldMk cId="3735024696" sldId="3466"/>
            <ac:spMk id="5" creationId="{7D4181A9-E8BF-BC93-DC4E-0E5FCD5F8B31}"/>
          </ac:spMkLst>
        </pc:spChg>
        <pc:picChg chg="add del mod">
          <ac:chgData name="Marianne Sinead Flesland" userId="S::mariasfl@uio.no::facc3627-c0de-4b78-919d-1b6bf2dc9821" providerId="AD" clId="Web-{2E619D53-2E97-258A-69E3-1E5664B56D35}" dt="2022-10-17T18:56:03.101" v="765"/>
          <ac:picMkLst>
            <pc:docMk/>
            <pc:sldMk cId="3735024696" sldId="3466"/>
            <ac:picMk id="6" creationId="{9220E5CA-EB15-BEEE-132A-FABA8C92FAA4}"/>
          </ac:picMkLst>
        </pc:picChg>
        <pc:picChg chg="add mod">
          <ac:chgData name="Marianne Sinead Flesland" userId="S::mariasfl@uio.no::facc3627-c0de-4b78-919d-1b6bf2dc9821" providerId="AD" clId="Web-{2E619D53-2E97-258A-69E3-1E5664B56D35}" dt="2022-10-17T19:00:12.041" v="915" actId="1076"/>
          <ac:picMkLst>
            <pc:docMk/>
            <pc:sldMk cId="3735024696" sldId="3466"/>
            <ac:picMk id="7" creationId="{E94DDF03-6D38-F1F5-6497-0C6712D25FC4}"/>
          </ac:picMkLst>
        </pc:picChg>
      </pc:sldChg>
      <pc:sldChg chg="addSp delSp modSp new ord">
        <pc:chgData name="Marianne Sinead Flesland" userId="S::mariasfl@uio.no::facc3627-c0de-4b78-919d-1b6bf2dc9821" providerId="AD" clId="Web-{2E619D53-2E97-258A-69E3-1E5664B56D35}" dt="2022-10-18T09:06:12.845" v="2298" actId="20577"/>
        <pc:sldMkLst>
          <pc:docMk/>
          <pc:sldMk cId="1479224844" sldId="3467"/>
        </pc:sldMkLst>
        <pc:spChg chg="del">
          <ac:chgData name="Marianne Sinead Flesland" userId="S::mariasfl@uio.no::facc3627-c0de-4b78-919d-1b6bf2dc9821" providerId="AD" clId="Web-{2E619D53-2E97-258A-69E3-1E5664B56D35}" dt="2022-10-17T19:03:05.574" v="1004"/>
          <ac:spMkLst>
            <pc:docMk/>
            <pc:sldMk cId="1479224844" sldId="3467"/>
            <ac:spMk id="2" creationId="{F3371FBD-6C60-0D27-1C06-E6CAAB3A1851}"/>
          </ac:spMkLst>
        </pc:spChg>
        <pc:spChg chg="mod">
          <ac:chgData name="Marianne Sinead Flesland" userId="S::mariasfl@uio.no::facc3627-c0de-4b78-919d-1b6bf2dc9821" providerId="AD" clId="Web-{2E619D53-2E97-258A-69E3-1E5664B56D35}" dt="2022-10-17T20:13:38.882" v="1571" actId="20577"/>
          <ac:spMkLst>
            <pc:docMk/>
            <pc:sldMk cId="1479224844" sldId="3467"/>
            <ac:spMk id="5" creationId="{F874BB30-52B6-4A1E-0F4D-6613287AE38B}"/>
          </ac:spMkLst>
        </pc:spChg>
        <pc:spChg chg="add mod">
          <ac:chgData name="Marianne Sinead Flesland" userId="S::mariasfl@uio.no::facc3627-c0de-4b78-919d-1b6bf2dc9821" providerId="AD" clId="Web-{2E619D53-2E97-258A-69E3-1E5664B56D35}" dt="2022-10-18T09:06:12.845" v="2298" actId="20577"/>
          <ac:spMkLst>
            <pc:docMk/>
            <pc:sldMk cId="1479224844" sldId="3467"/>
            <ac:spMk id="7" creationId="{728322E2-9C84-6BEA-1EC6-3387B53EC9EA}"/>
          </ac:spMkLst>
        </pc:spChg>
        <pc:picChg chg="add mod ord">
          <ac:chgData name="Marianne Sinead Flesland" userId="S::mariasfl@uio.no::facc3627-c0de-4b78-919d-1b6bf2dc9821" providerId="AD" clId="Web-{2E619D53-2E97-258A-69E3-1E5664B56D35}" dt="2022-10-17T19:04:21.465" v="1034" actId="1076"/>
          <ac:picMkLst>
            <pc:docMk/>
            <pc:sldMk cId="1479224844" sldId="3467"/>
            <ac:picMk id="6" creationId="{5CF72D1D-ACB6-F36B-5CB7-1373030CBB2E}"/>
          </ac:picMkLst>
        </pc:picChg>
      </pc:sldChg>
      <pc:sldChg chg="addSp delSp modSp new">
        <pc:chgData name="Marianne Sinead Flesland" userId="S::mariasfl@uio.no::facc3627-c0de-4b78-919d-1b6bf2dc9821" providerId="AD" clId="Web-{2E619D53-2E97-258A-69E3-1E5664B56D35}" dt="2022-10-17T19:52:49.288" v="1544"/>
        <pc:sldMkLst>
          <pc:docMk/>
          <pc:sldMk cId="3831833797" sldId="3468"/>
        </pc:sldMkLst>
        <pc:spChg chg="del">
          <ac:chgData name="Marianne Sinead Flesland" userId="S::mariasfl@uio.no::facc3627-c0de-4b78-919d-1b6bf2dc9821" providerId="AD" clId="Web-{2E619D53-2E97-258A-69E3-1E5664B56D35}" dt="2022-10-17T19:50:49.146" v="1313"/>
          <ac:spMkLst>
            <pc:docMk/>
            <pc:sldMk cId="3831833797" sldId="3468"/>
            <ac:spMk id="2" creationId="{31F8CD00-5947-6F33-8E54-B9D466BFE49C}"/>
          </ac:spMkLst>
        </pc:spChg>
        <pc:spChg chg="mod">
          <ac:chgData name="Marianne Sinead Flesland" userId="S::mariasfl@uio.no::facc3627-c0de-4b78-919d-1b6bf2dc9821" providerId="AD" clId="Web-{2E619D53-2E97-258A-69E3-1E5664B56D35}" dt="2022-10-17T19:51:48.944" v="1390" actId="20577"/>
          <ac:spMkLst>
            <pc:docMk/>
            <pc:sldMk cId="3831833797" sldId="3468"/>
            <ac:spMk id="5" creationId="{8CE386ED-2D7D-95F9-1FEF-2AEEAAB1E0F9}"/>
          </ac:spMkLst>
        </pc:spChg>
        <pc:graphicFrameChg chg="add mod ord modGraphic">
          <ac:chgData name="Marianne Sinead Flesland" userId="S::mariasfl@uio.no::facc3627-c0de-4b78-919d-1b6bf2dc9821" providerId="AD" clId="Web-{2E619D53-2E97-258A-69E3-1E5664B56D35}" dt="2022-10-17T19:52:49.288" v="1544"/>
          <ac:graphicFrameMkLst>
            <pc:docMk/>
            <pc:sldMk cId="3831833797" sldId="3468"/>
            <ac:graphicFrameMk id="6" creationId="{7D0E1D98-917F-4BA0-0B18-4A8ABE616901}"/>
          </ac:graphicFrameMkLst>
        </pc:graphicFrameChg>
      </pc:sldChg>
      <pc:sldChg chg="addSp delSp modSp new mod ord modShow">
        <pc:chgData name="Marianne Sinead Flesland" userId="S::mariasfl@uio.no::facc3627-c0de-4b78-919d-1b6bf2dc9821" providerId="AD" clId="Web-{2E619D53-2E97-258A-69E3-1E5664B56D35}" dt="2022-10-17T20:10:06.771" v="1562"/>
        <pc:sldMkLst>
          <pc:docMk/>
          <pc:sldMk cId="12282373" sldId="3469"/>
        </pc:sldMkLst>
        <pc:spChg chg="del">
          <ac:chgData name="Marianne Sinead Flesland" userId="S::mariasfl@uio.no::facc3627-c0de-4b78-919d-1b6bf2dc9821" providerId="AD" clId="Web-{2E619D53-2E97-258A-69E3-1E5664B56D35}" dt="2022-10-17T20:03:41.596" v="1546"/>
          <ac:spMkLst>
            <pc:docMk/>
            <pc:sldMk cId="12282373" sldId="3469"/>
            <ac:spMk id="2" creationId="{4E8817B1-B228-0E7D-02FD-58D9EC7A7800}"/>
          </ac:spMkLst>
        </pc:spChg>
        <pc:spChg chg="mod">
          <ac:chgData name="Marianne Sinead Flesland" userId="S::mariasfl@uio.no::facc3627-c0de-4b78-919d-1b6bf2dc9821" providerId="AD" clId="Web-{2E619D53-2E97-258A-69E3-1E5664B56D35}" dt="2022-10-17T20:09:01.802" v="1560" actId="20577"/>
          <ac:spMkLst>
            <pc:docMk/>
            <pc:sldMk cId="12282373" sldId="3469"/>
            <ac:spMk id="5" creationId="{05BE7283-32F0-AFBF-5BA1-E98CC0408C9A}"/>
          </ac:spMkLst>
        </pc:spChg>
        <pc:picChg chg="add mod ord">
          <ac:chgData name="Marianne Sinead Flesland" userId="S::mariasfl@uio.no::facc3627-c0de-4b78-919d-1b6bf2dc9821" providerId="AD" clId="Web-{2E619D53-2E97-258A-69E3-1E5664B56D35}" dt="2022-10-17T20:03:45.877" v="1547" actId="1076"/>
          <ac:picMkLst>
            <pc:docMk/>
            <pc:sldMk cId="12282373" sldId="3469"/>
            <ac:picMk id="6" creationId="{8D0C01D7-AF8B-35D4-43AD-8E4AC8948CC5}"/>
          </ac:picMkLst>
        </pc:picChg>
        <pc:picChg chg="add mod">
          <ac:chgData name="Marianne Sinead Flesland" userId="S::mariasfl@uio.no::facc3627-c0de-4b78-919d-1b6bf2dc9821" providerId="AD" clId="Web-{2E619D53-2E97-258A-69E3-1E5664B56D35}" dt="2022-10-17T20:05:39.113" v="1551" actId="14100"/>
          <ac:picMkLst>
            <pc:docMk/>
            <pc:sldMk cId="12282373" sldId="3469"/>
            <ac:picMk id="7" creationId="{8C5F734B-AF2E-BF15-B049-57390ABDBDBD}"/>
          </ac:picMkLst>
        </pc:picChg>
        <pc:picChg chg="add mod">
          <ac:chgData name="Marianne Sinead Flesland" userId="S::mariasfl@uio.no::facc3627-c0de-4b78-919d-1b6bf2dc9821" providerId="AD" clId="Web-{2E619D53-2E97-258A-69E3-1E5664B56D35}" dt="2022-10-17T20:07:29.895" v="1556" actId="1076"/>
          <ac:picMkLst>
            <pc:docMk/>
            <pc:sldMk cId="12282373" sldId="3469"/>
            <ac:picMk id="8" creationId="{3945A00E-7BE8-AD2B-4013-2CE4C06A302A}"/>
          </ac:picMkLst>
        </pc:picChg>
        <pc:picChg chg="add mod">
          <ac:chgData name="Marianne Sinead Flesland" userId="S::mariasfl@uio.no::facc3627-c0de-4b78-919d-1b6bf2dc9821" providerId="AD" clId="Web-{2E619D53-2E97-258A-69E3-1E5664B56D35}" dt="2022-10-17T20:08:10.801" v="1558" actId="1076"/>
          <ac:picMkLst>
            <pc:docMk/>
            <pc:sldMk cId="12282373" sldId="3469"/>
            <ac:picMk id="9" creationId="{4B4E9F3A-BE2E-24C0-5AC0-0D7255B47B77}"/>
          </ac:picMkLst>
        </pc:picChg>
      </pc:sldChg>
      <pc:sldChg chg="addSp modSp del">
        <pc:chgData name="Marianne Sinead Flesland" userId="S::mariasfl@uio.no::facc3627-c0de-4b78-919d-1b6bf2dc9821" providerId="AD" clId="Web-{2E619D53-2E97-258A-69E3-1E5664B56D35}" dt="2022-10-18T08:18:37.905" v="2062"/>
        <pc:sldMkLst>
          <pc:docMk/>
          <pc:sldMk cId="1808858673" sldId="3475"/>
        </pc:sldMkLst>
        <pc:graphicFrameChg chg="add mod modGraphic">
          <ac:chgData name="Marianne Sinead Flesland" userId="S::mariasfl@uio.no::facc3627-c0de-4b78-919d-1b6bf2dc9821" providerId="AD" clId="Web-{2E619D53-2E97-258A-69E3-1E5664B56D35}" dt="2022-10-18T08:17:51.139" v="2039"/>
          <ac:graphicFrameMkLst>
            <pc:docMk/>
            <pc:sldMk cId="1808858673" sldId="3475"/>
            <ac:graphicFrameMk id="2" creationId="{F7BE7DD7-2CA8-0748-9C7E-E82F7868A1B3}"/>
          </ac:graphicFrameMkLst>
        </pc:graphicFrameChg>
        <pc:graphicFrameChg chg="mod modGraphic">
          <ac:chgData name="Marianne Sinead Flesland" userId="S::mariasfl@uio.no::facc3627-c0de-4b78-919d-1b6bf2dc9821" providerId="AD" clId="Web-{2E619D53-2E97-258A-69E3-1E5664B56D35}" dt="2022-10-18T08:09:39.522" v="1583"/>
          <ac:graphicFrameMkLst>
            <pc:docMk/>
            <pc:sldMk cId="1808858673" sldId="3475"/>
            <ac:graphicFrameMk id="6" creationId="{72F008B8-46CE-2E94-48B5-A1F28C56B4DB}"/>
          </ac:graphicFrameMkLst>
        </pc:graphicFrameChg>
      </pc:sldChg>
      <pc:sldChg chg="add del replId">
        <pc:chgData name="Marianne Sinead Flesland" userId="S::mariasfl@uio.no::facc3627-c0de-4b78-919d-1b6bf2dc9821" providerId="AD" clId="Web-{2E619D53-2E97-258A-69E3-1E5664B56D35}" dt="2022-10-18T09:05:16.453" v="2268"/>
        <pc:sldMkLst>
          <pc:docMk/>
          <pc:sldMk cId="2894226303" sldId="3475"/>
        </pc:sldMkLst>
      </pc:sldChg>
      <pc:sldChg chg="add del replId">
        <pc:chgData name="Marianne Sinead Flesland" userId="S::mariasfl@uio.no::facc3627-c0de-4b78-919d-1b6bf2dc9821" providerId="AD" clId="Web-{2E619D53-2E97-258A-69E3-1E5664B56D35}" dt="2022-10-18T08:17:35.311" v="2035"/>
        <pc:sldMkLst>
          <pc:docMk/>
          <pc:sldMk cId="2740039571" sldId="3476"/>
        </pc:sldMkLst>
      </pc:sldChg>
    </pc:docChg>
  </pc:docChgLst>
  <pc:docChgLst>
    <pc:chgData name="Marianne Sinead Flesland" userId="S::mariasfl@uio.no::facc3627-c0de-4b78-919d-1b6bf2dc9821" providerId="AD" clId="Web-{A6FEB815-62EA-A286-3DBB-84175C5210BC}"/>
    <pc:docChg chg="modSld">
      <pc:chgData name="Marianne Sinead Flesland" userId="S::mariasfl@uio.no::facc3627-c0de-4b78-919d-1b6bf2dc9821" providerId="AD" clId="Web-{A6FEB815-62EA-A286-3DBB-84175C5210BC}" dt="2022-10-17T08:16:49.549" v="42" actId="20577"/>
      <pc:docMkLst>
        <pc:docMk/>
      </pc:docMkLst>
      <pc:sldChg chg="modSp">
        <pc:chgData name="Marianne Sinead Flesland" userId="S::mariasfl@uio.no::facc3627-c0de-4b78-919d-1b6bf2dc9821" providerId="AD" clId="Web-{A6FEB815-62EA-A286-3DBB-84175C5210BC}" dt="2022-10-17T08:16:49.549" v="42" actId="20577"/>
        <pc:sldMkLst>
          <pc:docMk/>
          <pc:sldMk cId="2559118045" sldId="265"/>
        </pc:sldMkLst>
        <pc:spChg chg="mod">
          <ac:chgData name="Marianne Sinead Flesland" userId="S::mariasfl@uio.no::facc3627-c0de-4b78-919d-1b6bf2dc9821" providerId="AD" clId="Web-{A6FEB815-62EA-A286-3DBB-84175C5210BC}" dt="2022-10-17T08:15:58.814" v="0" actId="20577"/>
          <ac:spMkLst>
            <pc:docMk/>
            <pc:sldMk cId="2559118045" sldId="265"/>
            <ac:spMk id="8" creationId="{3AECBC56-2572-4250-9FB6-ACAE3F81B5E5}"/>
          </ac:spMkLst>
        </pc:spChg>
        <pc:spChg chg="mod">
          <ac:chgData name="Marianne Sinead Flesland" userId="S::mariasfl@uio.no::facc3627-c0de-4b78-919d-1b6bf2dc9821" providerId="AD" clId="Web-{A6FEB815-62EA-A286-3DBB-84175C5210BC}" dt="2022-10-17T08:16:49.549" v="42" actId="20577"/>
          <ac:spMkLst>
            <pc:docMk/>
            <pc:sldMk cId="2559118045" sldId="265"/>
            <ac:spMk id="9" creationId="{E1E30382-FE5C-44BE-8C4F-383AEE569EF2}"/>
          </ac:spMkLst>
        </pc:spChg>
      </pc:sldChg>
    </pc:docChg>
  </pc:docChgLst>
  <pc:docChgLst>
    <pc:chgData name="Marianne Sinead Flesland" userId="S::mariasfl@uio.no::facc3627-c0de-4b78-919d-1b6bf2dc9821" providerId="AD" clId="Web-{61C7D83D-E96C-0A53-E934-F48561C09A43}"/>
    <pc:docChg chg="delSld modSld">
      <pc:chgData name="Marianne Sinead Flesland" userId="S::mariasfl@uio.no::facc3627-c0de-4b78-919d-1b6bf2dc9821" providerId="AD" clId="Web-{61C7D83D-E96C-0A53-E934-F48561C09A43}" dt="2022-10-14T13:49:36.233" v="46"/>
      <pc:docMkLst>
        <pc:docMk/>
      </pc:docMkLst>
      <pc:sldChg chg="modSp">
        <pc:chgData name="Marianne Sinead Flesland" userId="S::mariasfl@uio.no::facc3627-c0de-4b78-919d-1b6bf2dc9821" providerId="AD" clId="Web-{61C7D83D-E96C-0A53-E934-F48561C09A43}" dt="2022-10-14T13:47:41.856" v="10" actId="20577"/>
        <pc:sldMkLst>
          <pc:docMk/>
          <pc:sldMk cId="1548007822" sldId="256"/>
        </pc:sldMkLst>
        <pc:spChg chg="mod">
          <ac:chgData name="Marianne Sinead Flesland" userId="S::mariasfl@uio.no::facc3627-c0de-4b78-919d-1b6bf2dc9821" providerId="AD" clId="Web-{61C7D83D-E96C-0A53-E934-F48561C09A43}" dt="2022-10-14T13:47:32.138" v="7" actId="20577"/>
          <ac:spMkLst>
            <pc:docMk/>
            <pc:sldMk cId="1548007822" sldId="256"/>
            <ac:spMk id="4" creationId="{D2679736-DC89-4B1F-8650-FF9FFF390E02}"/>
          </ac:spMkLst>
        </pc:spChg>
        <pc:spChg chg="mod">
          <ac:chgData name="Marianne Sinead Flesland" userId="S::mariasfl@uio.no::facc3627-c0de-4b78-919d-1b6bf2dc9821" providerId="AD" clId="Web-{61C7D83D-E96C-0A53-E934-F48561C09A43}" dt="2022-10-14T13:47:41.856" v="10" actId="20577"/>
          <ac:spMkLst>
            <pc:docMk/>
            <pc:sldMk cId="1548007822" sldId="256"/>
            <ac:spMk id="10" creationId="{4AFE9AF5-7631-4B23-B1BD-7C05287A0EBC}"/>
          </ac:spMkLst>
        </pc:spChg>
      </pc:sldChg>
      <pc:sldChg chg="del">
        <pc:chgData name="Marianne Sinead Flesland" userId="S::mariasfl@uio.no::facc3627-c0de-4b78-919d-1b6bf2dc9821" providerId="AD" clId="Web-{61C7D83D-E96C-0A53-E934-F48561C09A43}" dt="2022-10-14T13:48:14.623" v="27"/>
        <pc:sldMkLst>
          <pc:docMk/>
          <pc:sldMk cId="2371095655" sldId="260"/>
        </pc:sldMkLst>
      </pc:sldChg>
      <pc:sldChg chg="del">
        <pc:chgData name="Marianne Sinead Flesland" userId="S::mariasfl@uio.no::facc3627-c0de-4b78-919d-1b6bf2dc9821" providerId="AD" clId="Web-{61C7D83D-E96C-0A53-E934-F48561C09A43}" dt="2022-10-14T13:48:44.451" v="33"/>
        <pc:sldMkLst>
          <pc:docMk/>
          <pc:sldMk cId="590812518" sldId="262"/>
        </pc:sldMkLst>
      </pc:sldChg>
      <pc:sldChg chg="del">
        <pc:chgData name="Marianne Sinead Flesland" userId="S::mariasfl@uio.no::facc3627-c0de-4b78-919d-1b6bf2dc9821" providerId="AD" clId="Web-{61C7D83D-E96C-0A53-E934-F48561C09A43}" dt="2022-10-14T13:48:06.622" v="21"/>
        <pc:sldMkLst>
          <pc:docMk/>
          <pc:sldMk cId="1434184949" sldId="549"/>
        </pc:sldMkLst>
      </pc:sldChg>
      <pc:sldChg chg="modSp">
        <pc:chgData name="Marianne Sinead Flesland" userId="S::mariasfl@uio.no::facc3627-c0de-4b78-919d-1b6bf2dc9821" providerId="AD" clId="Web-{61C7D83D-E96C-0A53-E934-F48561C09A43}" dt="2022-10-14T13:48:02.482" v="19" actId="20577"/>
        <pc:sldMkLst>
          <pc:docMk/>
          <pc:sldMk cId="4080940158" sldId="781"/>
        </pc:sldMkLst>
        <pc:spChg chg="mod">
          <ac:chgData name="Marianne Sinead Flesland" userId="S::mariasfl@uio.no::facc3627-c0de-4b78-919d-1b6bf2dc9821" providerId="AD" clId="Web-{61C7D83D-E96C-0A53-E934-F48561C09A43}" dt="2022-10-14T13:48:02.482" v="19" actId="20577"/>
          <ac:spMkLst>
            <pc:docMk/>
            <pc:sldMk cId="4080940158" sldId="781"/>
            <ac:spMk id="3" creationId="{A4B63BBB-7669-4F07-8E7A-85307397D92E}"/>
          </ac:spMkLst>
        </pc:spChg>
      </pc:sldChg>
      <pc:sldChg chg="modSp">
        <pc:chgData name="Marianne Sinead Flesland" userId="S::mariasfl@uio.no::facc3627-c0de-4b78-919d-1b6bf2dc9821" providerId="AD" clId="Web-{61C7D83D-E96C-0A53-E934-F48561C09A43}" dt="2022-10-14T13:49:27.030" v="45" actId="20577"/>
        <pc:sldMkLst>
          <pc:docMk/>
          <pc:sldMk cId="4121089596" sldId="1006"/>
        </pc:sldMkLst>
        <pc:spChg chg="mod">
          <ac:chgData name="Marianne Sinead Flesland" userId="S::mariasfl@uio.no::facc3627-c0de-4b78-919d-1b6bf2dc9821" providerId="AD" clId="Web-{61C7D83D-E96C-0A53-E934-F48561C09A43}" dt="2022-10-14T13:49:27.030" v="45" actId="20577"/>
          <ac:spMkLst>
            <pc:docMk/>
            <pc:sldMk cId="4121089596" sldId="1006"/>
            <ac:spMk id="7" creationId="{1EDCBA4A-1025-4B82-A9A4-2A87CEA46B62}"/>
          </ac:spMkLst>
        </pc:spChg>
      </pc:sldChg>
      <pc:sldChg chg="del">
        <pc:chgData name="Marianne Sinead Flesland" userId="S::mariasfl@uio.no::facc3627-c0de-4b78-919d-1b6bf2dc9821" providerId="AD" clId="Web-{61C7D83D-E96C-0A53-E934-F48561C09A43}" dt="2022-10-14T13:48:09.732" v="23"/>
        <pc:sldMkLst>
          <pc:docMk/>
          <pc:sldMk cId="2541481259" sldId="3368"/>
        </pc:sldMkLst>
      </pc:sldChg>
      <pc:sldChg chg="del">
        <pc:chgData name="Marianne Sinead Flesland" userId="S::mariasfl@uio.no::facc3627-c0de-4b78-919d-1b6bf2dc9821" providerId="AD" clId="Web-{61C7D83D-E96C-0A53-E934-F48561C09A43}" dt="2022-10-14T13:48:12.076" v="25"/>
        <pc:sldMkLst>
          <pc:docMk/>
          <pc:sldMk cId="1751542850" sldId="3408"/>
        </pc:sldMkLst>
      </pc:sldChg>
      <pc:sldChg chg="del">
        <pc:chgData name="Marianne Sinead Flesland" userId="S::mariasfl@uio.no::facc3627-c0de-4b78-919d-1b6bf2dc9821" providerId="AD" clId="Web-{61C7D83D-E96C-0A53-E934-F48561C09A43}" dt="2022-10-14T13:48:15.232" v="28"/>
        <pc:sldMkLst>
          <pc:docMk/>
          <pc:sldMk cId="1002426267" sldId="3409"/>
        </pc:sldMkLst>
      </pc:sldChg>
      <pc:sldChg chg="del">
        <pc:chgData name="Marianne Sinead Flesland" userId="S::mariasfl@uio.no::facc3627-c0de-4b78-919d-1b6bf2dc9821" providerId="AD" clId="Web-{61C7D83D-E96C-0A53-E934-F48561C09A43}" dt="2022-10-14T13:48:51.951" v="35"/>
        <pc:sldMkLst>
          <pc:docMk/>
          <pc:sldMk cId="3776688183" sldId="3423"/>
        </pc:sldMkLst>
      </pc:sldChg>
      <pc:sldChg chg="del">
        <pc:chgData name="Marianne Sinead Flesland" userId="S::mariasfl@uio.no::facc3627-c0de-4b78-919d-1b6bf2dc9821" providerId="AD" clId="Web-{61C7D83D-E96C-0A53-E934-F48561C09A43}" dt="2022-10-14T13:48:47.373" v="34"/>
        <pc:sldMkLst>
          <pc:docMk/>
          <pc:sldMk cId="1000889667" sldId="3425"/>
        </pc:sldMkLst>
      </pc:sldChg>
      <pc:sldChg chg="del">
        <pc:chgData name="Marianne Sinead Flesland" userId="S::mariasfl@uio.no::facc3627-c0de-4b78-919d-1b6bf2dc9821" providerId="AD" clId="Web-{61C7D83D-E96C-0A53-E934-F48561C09A43}" dt="2022-10-14T13:49:01.029" v="41"/>
        <pc:sldMkLst>
          <pc:docMk/>
          <pc:sldMk cId="3626989589" sldId="3428"/>
        </pc:sldMkLst>
      </pc:sldChg>
      <pc:sldChg chg="del">
        <pc:chgData name="Marianne Sinead Flesland" userId="S::mariasfl@uio.no::facc3627-c0de-4b78-919d-1b6bf2dc9821" providerId="AD" clId="Web-{61C7D83D-E96C-0A53-E934-F48561C09A43}" dt="2022-10-14T13:48:14.029" v="26"/>
        <pc:sldMkLst>
          <pc:docMk/>
          <pc:sldMk cId="673138795" sldId="3430"/>
        </pc:sldMkLst>
      </pc:sldChg>
      <pc:sldChg chg="del">
        <pc:chgData name="Marianne Sinead Flesland" userId="S::mariasfl@uio.no::facc3627-c0de-4b78-919d-1b6bf2dc9821" providerId="AD" clId="Web-{61C7D83D-E96C-0A53-E934-F48561C09A43}" dt="2022-10-14T13:48:07.904" v="22"/>
        <pc:sldMkLst>
          <pc:docMk/>
          <pc:sldMk cId="1520626908" sldId="3435"/>
        </pc:sldMkLst>
      </pc:sldChg>
      <pc:sldChg chg="del">
        <pc:chgData name="Marianne Sinead Flesland" userId="S::mariasfl@uio.no::facc3627-c0de-4b78-919d-1b6bf2dc9821" providerId="AD" clId="Web-{61C7D83D-E96C-0A53-E934-F48561C09A43}" dt="2022-10-14T13:48:03.950" v="20"/>
        <pc:sldMkLst>
          <pc:docMk/>
          <pc:sldMk cId="3632157262" sldId="3441"/>
        </pc:sldMkLst>
      </pc:sldChg>
      <pc:sldChg chg="del">
        <pc:chgData name="Marianne Sinead Flesland" userId="S::mariasfl@uio.no::facc3627-c0de-4b78-919d-1b6bf2dc9821" providerId="AD" clId="Web-{61C7D83D-E96C-0A53-E934-F48561C09A43}" dt="2022-10-14T13:48:11.122" v="24"/>
        <pc:sldMkLst>
          <pc:docMk/>
          <pc:sldMk cId="846619938" sldId="3442"/>
        </pc:sldMkLst>
      </pc:sldChg>
      <pc:sldChg chg="del">
        <pc:chgData name="Marianne Sinead Flesland" userId="S::mariasfl@uio.no::facc3627-c0de-4b78-919d-1b6bf2dc9821" providerId="AD" clId="Web-{61C7D83D-E96C-0A53-E934-F48561C09A43}" dt="2022-10-14T13:48:33.920" v="31"/>
        <pc:sldMkLst>
          <pc:docMk/>
          <pc:sldMk cId="515192059" sldId="3444"/>
        </pc:sldMkLst>
      </pc:sldChg>
      <pc:sldChg chg="del">
        <pc:chgData name="Marianne Sinead Flesland" userId="S::mariasfl@uio.no::facc3627-c0de-4b78-919d-1b6bf2dc9821" providerId="AD" clId="Web-{61C7D83D-E96C-0A53-E934-F48561C09A43}" dt="2022-10-14T13:48:42.951" v="32"/>
        <pc:sldMkLst>
          <pc:docMk/>
          <pc:sldMk cId="325194848" sldId="3447"/>
        </pc:sldMkLst>
      </pc:sldChg>
      <pc:sldChg chg="del">
        <pc:chgData name="Marianne Sinead Flesland" userId="S::mariasfl@uio.no::facc3627-c0de-4b78-919d-1b6bf2dc9821" providerId="AD" clId="Web-{61C7D83D-E96C-0A53-E934-F48561C09A43}" dt="2022-10-14T13:48:53.982" v="36"/>
        <pc:sldMkLst>
          <pc:docMk/>
          <pc:sldMk cId="393527646" sldId="3448"/>
        </pc:sldMkLst>
      </pc:sldChg>
      <pc:sldChg chg="del">
        <pc:chgData name="Marianne Sinead Flesland" userId="S::mariasfl@uio.no::facc3627-c0de-4b78-919d-1b6bf2dc9821" providerId="AD" clId="Web-{61C7D83D-E96C-0A53-E934-F48561C09A43}" dt="2022-10-14T13:49:36.233" v="46"/>
        <pc:sldMkLst>
          <pc:docMk/>
          <pc:sldMk cId="2897083122" sldId="3449"/>
        </pc:sldMkLst>
      </pc:sldChg>
      <pc:sldChg chg="del">
        <pc:chgData name="Marianne Sinead Flesland" userId="S::mariasfl@uio.no::facc3627-c0de-4b78-919d-1b6bf2dc9821" providerId="AD" clId="Web-{61C7D83D-E96C-0A53-E934-F48561C09A43}" dt="2022-10-14T13:48:31.857" v="30"/>
        <pc:sldMkLst>
          <pc:docMk/>
          <pc:sldMk cId="2280105131" sldId="3451"/>
        </pc:sldMkLst>
      </pc:sldChg>
      <pc:sldChg chg="del">
        <pc:chgData name="Marianne Sinead Flesland" userId="S::mariasfl@uio.no::facc3627-c0de-4b78-919d-1b6bf2dc9821" providerId="AD" clId="Web-{61C7D83D-E96C-0A53-E934-F48561C09A43}" dt="2022-10-14T13:48:16.826" v="29"/>
        <pc:sldMkLst>
          <pc:docMk/>
          <pc:sldMk cId="2971153349" sldId="3452"/>
        </pc:sldMkLst>
      </pc:sldChg>
      <pc:sldChg chg="del">
        <pc:chgData name="Marianne Sinead Flesland" userId="S::mariasfl@uio.no::facc3627-c0de-4b78-919d-1b6bf2dc9821" providerId="AD" clId="Web-{61C7D83D-E96C-0A53-E934-F48561C09A43}" dt="2022-10-14T13:48:55.107" v="37"/>
        <pc:sldMkLst>
          <pc:docMk/>
          <pc:sldMk cId="1402428516" sldId="3464"/>
        </pc:sldMkLst>
      </pc:sldChg>
      <pc:sldChg chg="del">
        <pc:chgData name="Marianne Sinead Flesland" userId="S::mariasfl@uio.no::facc3627-c0de-4b78-919d-1b6bf2dc9821" providerId="AD" clId="Web-{61C7D83D-E96C-0A53-E934-F48561C09A43}" dt="2022-10-14T13:48:56.733" v="38"/>
        <pc:sldMkLst>
          <pc:docMk/>
          <pc:sldMk cId="2422846369" sldId="3465"/>
        </pc:sldMkLst>
      </pc:sldChg>
      <pc:sldChg chg="del">
        <pc:chgData name="Marianne Sinead Flesland" userId="S::mariasfl@uio.no::facc3627-c0de-4b78-919d-1b6bf2dc9821" providerId="AD" clId="Web-{61C7D83D-E96C-0A53-E934-F48561C09A43}" dt="2022-10-14T13:48:58.670" v="39"/>
        <pc:sldMkLst>
          <pc:docMk/>
          <pc:sldMk cId="281703901" sldId="3466"/>
        </pc:sldMkLst>
      </pc:sldChg>
      <pc:sldChg chg="del">
        <pc:chgData name="Marianne Sinead Flesland" userId="S::mariasfl@uio.no::facc3627-c0de-4b78-919d-1b6bf2dc9821" providerId="AD" clId="Web-{61C7D83D-E96C-0A53-E934-F48561C09A43}" dt="2022-10-14T13:48:59.858" v="40"/>
        <pc:sldMkLst>
          <pc:docMk/>
          <pc:sldMk cId="3554066815" sldId="3467"/>
        </pc:sldMkLst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2-10-17T17:28:30.272" idx="1">
    <p:pos x="10" y="10"/>
    <p:text/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9314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086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E4793-8F41-48A4-AC3F-79AA8E36716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8907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6180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E4793-8F41-48A4-AC3F-79AA8E36716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98461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E4793-8F41-48A4-AC3F-79AA8E36716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889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15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8595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16124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63599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649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243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24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24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88CF92-FCC2-4FBB-9F8C-8ED429043180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5ACD5-0D42-42F7-B111-2AEA8F2C3631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383208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384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6"/>
          </a:xfrm>
        </p:spPr>
        <p:txBody>
          <a:bodyPr anchor="b"/>
          <a:lstStyle>
            <a:lvl1pPr marL="0" indent="0">
              <a:buNone/>
              <a:defRPr sz="1920"/>
            </a:lvl1pPr>
            <a:lvl2pPr marL="435510" indent="0">
              <a:buNone/>
              <a:defRPr sz="1680"/>
            </a:lvl2pPr>
            <a:lvl3pPr marL="871021" indent="0">
              <a:buNone/>
              <a:defRPr sz="1560"/>
            </a:lvl3pPr>
            <a:lvl4pPr marL="1306531" indent="0">
              <a:buNone/>
              <a:defRPr sz="1320"/>
            </a:lvl4pPr>
            <a:lvl5pPr marL="1742041" indent="0">
              <a:buNone/>
              <a:defRPr sz="1320"/>
            </a:lvl5pPr>
            <a:lvl6pPr marL="2177552" indent="0">
              <a:buNone/>
              <a:defRPr sz="1320"/>
            </a:lvl6pPr>
            <a:lvl7pPr marL="2613062" indent="0">
              <a:buNone/>
              <a:defRPr sz="1320"/>
            </a:lvl7pPr>
            <a:lvl8pPr marL="3048574" indent="0">
              <a:buNone/>
              <a:defRPr sz="1320"/>
            </a:lvl8pPr>
            <a:lvl9pPr marL="3484084" indent="0">
              <a:buNone/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50365-4E4D-4100-BCA3-55140E883697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916B1-5B0A-4BA8-8794-3D037D7341E7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85627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32968687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174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3282097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5052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28074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36484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63436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68577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32556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75546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8918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5388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38320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04150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9134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4278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9223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7856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3593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764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2608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306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3255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1597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4736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7267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43C17-0871-4013-A8A3-17462C36903A}" type="datetimeFigureOut">
              <a:rPr lang="en-US" smtClean="0"/>
              <a:t>10/2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6A90F-2EF8-4F32-9163-C362233C7C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6277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4" y="0"/>
            <a:ext cx="121835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177540" y="2300554"/>
            <a:ext cx="10058400" cy="1143000"/>
          </a:xfrm>
        </p:spPr>
        <p:txBody>
          <a:bodyPr anchor="b"/>
          <a:lstStyle>
            <a:lvl1pPr>
              <a:defRPr sz="1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177540" y="3429000"/>
            <a:ext cx="10058400" cy="1752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16776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88CF92-FCC2-4FBB-9F8C-8ED429043180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5ACD5-0D42-42F7-B111-2AEA8F2C3631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891145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384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6"/>
          </a:xfrm>
        </p:spPr>
        <p:txBody>
          <a:bodyPr anchor="b"/>
          <a:lstStyle>
            <a:lvl1pPr marL="0" indent="0">
              <a:buNone/>
              <a:defRPr sz="1920"/>
            </a:lvl1pPr>
            <a:lvl2pPr marL="435510" indent="0">
              <a:buNone/>
              <a:defRPr sz="1680"/>
            </a:lvl2pPr>
            <a:lvl3pPr marL="871021" indent="0">
              <a:buNone/>
              <a:defRPr sz="1560"/>
            </a:lvl3pPr>
            <a:lvl4pPr marL="1306531" indent="0">
              <a:buNone/>
              <a:defRPr sz="1320"/>
            </a:lvl4pPr>
            <a:lvl5pPr marL="1742041" indent="0">
              <a:buNone/>
              <a:defRPr sz="1320"/>
            </a:lvl5pPr>
            <a:lvl6pPr marL="2177552" indent="0">
              <a:buNone/>
              <a:defRPr sz="1320"/>
            </a:lvl6pPr>
            <a:lvl7pPr marL="2613062" indent="0">
              <a:buNone/>
              <a:defRPr sz="1320"/>
            </a:lvl7pPr>
            <a:lvl8pPr marL="3048574" indent="0">
              <a:buNone/>
              <a:defRPr sz="1320"/>
            </a:lvl8pPr>
            <a:lvl9pPr marL="3484084" indent="0">
              <a:buNone/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50365-4E4D-4100-BCA3-55140E883697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916B1-5B0A-4BA8-8794-3D037D7341E7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5066093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20800" y="1981200"/>
            <a:ext cx="5029200" cy="4114800"/>
          </a:xfrm>
        </p:spPr>
        <p:txBody>
          <a:bodyPr/>
          <a:lstStyle>
            <a:lvl1pPr>
              <a:defRPr sz="2640"/>
            </a:lvl1pPr>
            <a:lvl2pPr>
              <a:defRPr sz="228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  <a:lvl6pPr>
              <a:defRPr sz="1680"/>
            </a:lvl6pPr>
            <a:lvl7pPr>
              <a:defRPr sz="1680"/>
            </a:lvl7pPr>
            <a:lvl8pPr>
              <a:defRPr sz="1680"/>
            </a:lvl8pPr>
            <a:lvl9pPr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53200" y="1981200"/>
            <a:ext cx="5029200" cy="4114800"/>
          </a:xfrm>
        </p:spPr>
        <p:txBody>
          <a:bodyPr/>
          <a:lstStyle>
            <a:lvl1pPr>
              <a:defRPr sz="2640"/>
            </a:lvl1pPr>
            <a:lvl2pPr>
              <a:defRPr sz="228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  <a:lvl6pPr>
              <a:defRPr sz="1680"/>
            </a:lvl6pPr>
            <a:lvl7pPr>
              <a:defRPr sz="1680"/>
            </a:lvl7pPr>
            <a:lvl8pPr>
              <a:defRPr sz="1680"/>
            </a:lvl8pPr>
            <a:lvl9pPr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41EAC-7996-42D5-9087-B971990E891A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70C7C-F512-42E6-8D6D-37AF1A344894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791459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280" b="1"/>
            </a:lvl1pPr>
            <a:lvl2pPr marL="435510" indent="0">
              <a:buNone/>
              <a:defRPr sz="1920" b="1"/>
            </a:lvl2pPr>
            <a:lvl3pPr marL="871021" indent="0">
              <a:buNone/>
              <a:defRPr sz="1680" b="1"/>
            </a:lvl3pPr>
            <a:lvl4pPr marL="1306531" indent="0">
              <a:buNone/>
              <a:defRPr sz="1560" b="1"/>
            </a:lvl4pPr>
            <a:lvl5pPr marL="1742041" indent="0">
              <a:buNone/>
              <a:defRPr sz="1560" b="1"/>
            </a:lvl5pPr>
            <a:lvl6pPr marL="2177552" indent="0">
              <a:buNone/>
              <a:defRPr sz="1560" b="1"/>
            </a:lvl6pPr>
            <a:lvl7pPr marL="2613062" indent="0">
              <a:buNone/>
              <a:defRPr sz="1560" b="1"/>
            </a:lvl7pPr>
            <a:lvl8pPr marL="3048574" indent="0">
              <a:buNone/>
              <a:defRPr sz="1560" b="1"/>
            </a:lvl8pPr>
            <a:lvl9pPr marL="3484084" indent="0">
              <a:buNone/>
              <a:defRPr sz="1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6"/>
            <a:ext cx="5386917" cy="3951288"/>
          </a:xfrm>
        </p:spPr>
        <p:txBody>
          <a:bodyPr/>
          <a:lstStyle>
            <a:lvl1pPr>
              <a:defRPr sz="2280"/>
            </a:lvl1pPr>
            <a:lvl2pPr>
              <a:defRPr sz="1920"/>
            </a:lvl2pPr>
            <a:lvl3pPr>
              <a:defRPr sz="1680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280" b="1"/>
            </a:lvl1pPr>
            <a:lvl2pPr marL="435510" indent="0">
              <a:buNone/>
              <a:defRPr sz="1920" b="1"/>
            </a:lvl2pPr>
            <a:lvl3pPr marL="871021" indent="0">
              <a:buNone/>
              <a:defRPr sz="1680" b="1"/>
            </a:lvl3pPr>
            <a:lvl4pPr marL="1306531" indent="0">
              <a:buNone/>
              <a:defRPr sz="1560" b="1"/>
            </a:lvl4pPr>
            <a:lvl5pPr marL="1742041" indent="0">
              <a:buNone/>
              <a:defRPr sz="1560" b="1"/>
            </a:lvl5pPr>
            <a:lvl6pPr marL="2177552" indent="0">
              <a:buNone/>
              <a:defRPr sz="1560" b="1"/>
            </a:lvl6pPr>
            <a:lvl7pPr marL="2613062" indent="0">
              <a:buNone/>
              <a:defRPr sz="1560" b="1"/>
            </a:lvl7pPr>
            <a:lvl8pPr marL="3048574" indent="0">
              <a:buNone/>
              <a:defRPr sz="1560" b="1"/>
            </a:lvl8pPr>
            <a:lvl9pPr marL="3484084" indent="0">
              <a:buNone/>
              <a:defRPr sz="1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6"/>
            <a:ext cx="5389033" cy="3951288"/>
          </a:xfrm>
        </p:spPr>
        <p:txBody>
          <a:bodyPr/>
          <a:lstStyle>
            <a:lvl1pPr>
              <a:defRPr sz="2280"/>
            </a:lvl1pPr>
            <a:lvl2pPr>
              <a:defRPr sz="1920"/>
            </a:lvl2pPr>
            <a:lvl3pPr>
              <a:defRPr sz="1680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D6DFD3-5BD6-4FCE-9ED6-13FEA292E7AC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37D392-29E3-4CFE-AAF3-CCFF333B8D9D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93119825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B94B8-B9C8-4F1B-89ED-7C5D1D7619BF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A4946C-0E64-4CCE-ACA9-014E45EFACAF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032296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3646F-E7A5-4583-9973-DF4B29E28F19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87EC78-B924-4ED5-87EC-7C85B98860FC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4187549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92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4"/>
          </a:xfrm>
        </p:spPr>
        <p:txBody>
          <a:bodyPr/>
          <a:lstStyle>
            <a:lvl1pPr>
              <a:defRPr sz="3000"/>
            </a:lvl1pPr>
            <a:lvl2pPr>
              <a:defRPr sz="2640"/>
            </a:lvl2pPr>
            <a:lvl3pPr>
              <a:defRPr sz="228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1"/>
            <a:ext cx="4011084" cy="4691063"/>
          </a:xfrm>
        </p:spPr>
        <p:txBody>
          <a:bodyPr/>
          <a:lstStyle>
            <a:lvl1pPr marL="0" indent="0">
              <a:buNone/>
              <a:defRPr sz="1320"/>
            </a:lvl1pPr>
            <a:lvl2pPr marL="435510" indent="0">
              <a:buNone/>
              <a:defRPr sz="1200"/>
            </a:lvl2pPr>
            <a:lvl3pPr marL="871021" indent="0">
              <a:buNone/>
              <a:defRPr sz="960"/>
            </a:lvl3pPr>
            <a:lvl4pPr marL="1306531" indent="0">
              <a:buNone/>
              <a:defRPr sz="840"/>
            </a:lvl4pPr>
            <a:lvl5pPr marL="1742041" indent="0">
              <a:buNone/>
              <a:defRPr sz="840"/>
            </a:lvl5pPr>
            <a:lvl6pPr marL="2177552" indent="0">
              <a:buNone/>
              <a:defRPr sz="840"/>
            </a:lvl6pPr>
            <a:lvl7pPr marL="2613062" indent="0">
              <a:buNone/>
              <a:defRPr sz="840"/>
            </a:lvl7pPr>
            <a:lvl8pPr marL="3048574" indent="0">
              <a:buNone/>
              <a:defRPr sz="840"/>
            </a:lvl8pPr>
            <a:lvl9pPr marL="3484084" indent="0">
              <a:buNone/>
              <a:defRPr sz="8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371C27-5D1A-4AB4-B3F3-86F92E529483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6B3B4-F556-4108-A2D4-15BB0371DD5E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225920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2"/>
            <a:ext cx="7315200" cy="566737"/>
          </a:xfrm>
        </p:spPr>
        <p:txBody>
          <a:bodyPr anchor="b"/>
          <a:lstStyle>
            <a:lvl1pPr algn="l">
              <a:defRPr sz="192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/>
          <a:lstStyle>
            <a:lvl1pPr marL="0" indent="0">
              <a:buNone/>
              <a:defRPr sz="3000"/>
            </a:lvl1pPr>
            <a:lvl2pPr marL="435510" indent="0">
              <a:buNone/>
              <a:defRPr sz="2640"/>
            </a:lvl2pPr>
            <a:lvl3pPr marL="871021" indent="0">
              <a:buNone/>
              <a:defRPr sz="2280"/>
            </a:lvl3pPr>
            <a:lvl4pPr marL="1306531" indent="0">
              <a:buNone/>
              <a:defRPr sz="1920"/>
            </a:lvl4pPr>
            <a:lvl5pPr marL="1742041" indent="0">
              <a:buNone/>
              <a:defRPr sz="1920"/>
            </a:lvl5pPr>
            <a:lvl6pPr marL="2177552" indent="0">
              <a:buNone/>
              <a:defRPr sz="1920"/>
            </a:lvl6pPr>
            <a:lvl7pPr marL="2613062" indent="0">
              <a:buNone/>
              <a:defRPr sz="1920"/>
            </a:lvl7pPr>
            <a:lvl8pPr marL="3048574" indent="0">
              <a:buNone/>
              <a:defRPr sz="1920"/>
            </a:lvl8pPr>
            <a:lvl9pPr marL="3484084" indent="0">
              <a:buNone/>
              <a:defRPr sz="1920"/>
            </a:lvl9pPr>
          </a:lstStyle>
          <a:p>
            <a:pPr lvl="0"/>
            <a:r>
              <a:rPr lang="en-US" noProof="0"/>
              <a:t>Click icon to add picture</a:t>
            </a:r>
            <a:endParaRPr lang="nb-NO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9"/>
            <a:ext cx="7315200" cy="804863"/>
          </a:xfrm>
        </p:spPr>
        <p:txBody>
          <a:bodyPr/>
          <a:lstStyle>
            <a:lvl1pPr marL="0" indent="0">
              <a:buNone/>
              <a:defRPr sz="1320"/>
            </a:lvl1pPr>
            <a:lvl2pPr marL="435510" indent="0">
              <a:buNone/>
              <a:defRPr sz="1200"/>
            </a:lvl2pPr>
            <a:lvl3pPr marL="871021" indent="0">
              <a:buNone/>
              <a:defRPr sz="960"/>
            </a:lvl3pPr>
            <a:lvl4pPr marL="1306531" indent="0">
              <a:buNone/>
              <a:defRPr sz="840"/>
            </a:lvl4pPr>
            <a:lvl5pPr marL="1742041" indent="0">
              <a:buNone/>
              <a:defRPr sz="840"/>
            </a:lvl5pPr>
            <a:lvl6pPr marL="2177552" indent="0">
              <a:buNone/>
              <a:defRPr sz="840"/>
            </a:lvl6pPr>
            <a:lvl7pPr marL="2613062" indent="0">
              <a:buNone/>
              <a:defRPr sz="840"/>
            </a:lvl7pPr>
            <a:lvl8pPr marL="3048574" indent="0">
              <a:buNone/>
              <a:defRPr sz="840"/>
            </a:lvl8pPr>
            <a:lvl9pPr marL="3484084" indent="0">
              <a:buNone/>
              <a:defRPr sz="8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91A82-8320-4BDC-8540-FB67DCED79BA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DAC4C-845E-4338-8CA4-94A3E81CFC16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1644352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1261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image" Target="../media/image22.sv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image" Target="../media/image22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image" Target="../media/image26.png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3" imgW="339" imgH="343" progId="TCLayout.ActiveDocument.1">
                  <p:embed/>
                </p:oleObj>
              </mc:Choice>
              <mc:Fallback>
                <p:oleObj name="think-cell Slide" r:id="rId33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85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96" r:id="rId28"/>
    <p:sldLayoutId id="2147483797" r:id="rId2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535774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29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1016001" y="849630"/>
            <a:ext cx="10562167" cy="114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itle sty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6000" y="1981200"/>
            <a:ext cx="10566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ext styles</a:t>
            </a:r>
          </a:p>
          <a:p>
            <a:pPr lvl="1"/>
            <a:r>
              <a:rPr lang="en-US" altLang="nb-NO"/>
              <a:t>Second level</a:t>
            </a:r>
          </a:p>
          <a:p>
            <a:pPr lvl="2"/>
            <a:r>
              <a:rPr lang="en-US" altLang="nb-NO"/>
              <a:t>Third level</a:t>
            </a:r>
          </a:p>
          <a:p>
            <a:pPr lvl="3"/>
            <a:r>
              <a:rPr lang="en-US" altLang="nb-NO"/>
              <a:t>Fourth level</a:t>
            </a:r>
          </a:p>
          <a:p>
            <a:pPr lvl="4"/>
            <a:r>
              <a:rPr lang="en-US" altLang="nb-NO"/>
              <a:t>Fifth level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16000" y="64008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4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E606A28-8D8C-4530-A8FA-718CEBE1EB13}" type="datetime1">
              <a:rPr lang="nb-NO" altLang="nb-NO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691284" y="6400800"/>
            <a:ext cx="914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4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6C22D38-D347-4E0B-8AE2-2CF1C6227809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  <p:pic>
        <p:nvPicPr>
          <p:cNvPr id="1030" name="Picture 6" descr="UiO_A_png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851" y="161926"/>
            <a:ext cx="2948516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939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8" r:id="rId10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3551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87102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0653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74204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325756" indent="-325756" algn="l" rtl="0" eaLnBrk="1" fontAlgn="base" hangingPunct="1">
        <a:spcBef>
          <a:spcPct val="20000"/>
        </a:spcBef>
        <a:spcAft>
          <a:spcPct val="0"/>
        </a:spcAft>
        <a:buChar char="•"/>
        <a:defRPr sz="2640">
          <a:solidFill>
            <a:schemeClr val="tx1"/>
          </a:solidFill>
          <a:latin typeface="+mn-lt"/>
          <a:ea typeface="+mn-ea"/>
          <a:cs typeface="+mn-cs"/>
        </a:defRPr>
      </a:lvl1pPr>
      <a:lvl2pPr marL="706756" indent="-270510" algn="l" rtl="0" eaLnBrk="1" fontAlgn="base" hangingPunct="1">
        <a:spcBef>
          <a:spcPct val="20000"/>
        </a:spcBef>
        <a:spcAft>
          <a:spcPct val="0"/>
        </a:spcAft>
        <a:buChar char="–"/>
        <a:defRPr sz="2280">
          <a:solidFill>
            <a:schemeClr val="tx1"/>
          </a:solidFill>
          <a:latin typeface="+mn-lt"/>
          <a:ea typeface="+mn-ea"/>
          <a:cs typeface="+mn-cs"/>
        </a:defRPr>
      </a:lvl2pPr>
      <a:lvl3pPr marL="1087756" indent="-217170" algn="l" rtl="0" eaLnBrk="1" fontAlgn="base" hangingPunct="1">
        <a:spcBef>
          <a:spcPct val="20000"/>
        </a:spcBef>
        <a:spcAft>
          <a:spcPct val="0"/>
        </a:spcAft>
        <a:buChar char="•"/>
        <a:defRPr sz="1920">
          <a:solidFill>
            <a:schemeClr val="tx1"/>
          </a:solidFill>
          <a:latin typeface="+mn-lt"/>
          <a:ea typeface="+mn-ea"/>
          <a:cs typeface="+mn-cs"/>
        </a:defRPr>
      </a:lvl3pPr>
      <a:lvl4pPr marL="1524000" indent="-21717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958340" indent="-217170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5pPr>
      <a:lvl6pPr marL="2395307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6pPr>
      <a:lvl7pPr marL="2830818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7pPr>
      <a:lvl8pPr marL="3266328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8pPr>
      <a:lvl9pPr marL="3701839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1pPr>
      <a:lvl2pPr marL="435510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2pPr>
      <a:lvl3pPr marL="87102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130653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4pPr>
      <a:lvl5pPr marL="174204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5pPr>
      <a:lvl6pPr marL="2177552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6pPr>
      <a:lvl7pPr marL="2613062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7pPr>
      <a:lvl8pPr marL="3048574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8pPr>
      <a:lvl9pPr marL="3484084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3.xml"/><Relationship Id="rId4" Type="http://schemas.openxmlformats.org/officeDocument/2006/relationships/hyperlink" Target="https://prudens.uhad.no/#/site/UiO/workbooks/2016/views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arbeidsstotte/virksomhetsstyring/budsjett-prognose.html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9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77D2CD7A-C840-40F7-A393-111D41DF69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5791184-9217-400C-91DE-8FEBD3D074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2679736-DC89-4B1F-8650-FF9FFF390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stue </a:t>
            </a:r>
            <a:br>
              <a:rPr lang="nb-NO">
                <a:cs typeface="Arial"/>
              </a:rPr>
            </a:br>
            <a:r>
              <a:rPr lang="nb-NO"/>
              <a:t>Lønn og årsverk</a:t>
            </a:r>
            <a:endParaRPr lang="en-US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4F4BA9C2-BF4A-4349-B82C-9534A1E287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4AFE9AF5-7631-4B23-B1BD-7C05287A0E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7422" y="4553459"/>
            <a:ext cx="5716962" cy="75723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Arbeidsstue for </a:t>
            </a:r>
            <a:r>
              <a:rPr lang="nb-NO" err="1"/>
              <a:t>økonomicontrollere</a:t>
            </a:r>
            <a:r>
              <a:rPr lang="nb-NO"/>
              <a:t> og økonomiledere 18.10.22</a:t>
            </a:r>
          </a:p>
        </p:txBody>
      </p:sp>
    </p:spTree>
    <p:extLst>
      <p:ext uri="{BB962C8B-B14F-4D97-AF65-F5344CB8AC3E}">
        <p14:creationId xmlns:p14="http://schemas.microsoft.com/office/powerpoint/2010/main" val="15480078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19480BE1-FD0A-44D6-BE25-DCFB48FCDEF1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446216"/>
            <a:ext cx="11471910" cy="48173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tx1"/>
                </a:solidFill>
              </a:rPr>
              <a:t>Legge inn som kronebeløp i BEVAAR2023, i transaksjonsregistreringsbilde AAR_DRI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Beregne pottene:</a:t>
            </a:r>
          </a:p>
          <a:p>
            <a:pPr marL="560396" lvl="1" indent="0">
              <a:buNone/>
            </a:pPr>
            <a:r>
              <a:rPr lang="nb-NO" sz="1200" u="sng">
                <a:solidFill>
                  <a:schemeClr val="tx1">
                    <a:lumMod val="85000"/>
                    <a:lumOff val="15000"/>
                  </a:schemeClr>
                </a:solidFill>
              </a:rPr>
              <a:t>2022 </a:t>
            </a:r>
          </a:p>
          <a:p>
            <a:pPr marL="846146" lvl="1" indent="-172800">
              <a:buFont typeface="Arial" panose="020B0604020202020204" pitchFamily="34" charset="0"/>
              <a:buChar char="•"/>
            </a:pPr>
            <a:r>
              <a:rPr lang="nb-NO" sz="1200"/>
              <a:t>Budsjettert lønnsmasse 2023 x 2,3%</a:t>
            </a:r>
          </a:p>
          <a:p>
            <a:pPr marL="846146" lvl="1" indent="-172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</a:rPr>
              <a:t>Bruk justeringskode «LVEKST_AAR0»</a:t>
            </a:r>
          </a:p>
          <a:p>
            <a:pPr marL="560396" lvl="1" indent="0">
              <a:buNone/>
            </a:pPr>
            <a:r>
              <a:rPr lang="nb-NO" sz="1200" u="sng">
                <a:solidFill>
                  <a:schemeClr val="tx1">
                    <a:lumMod val="85000"/>
                    <a:lumOff val="15000"/>
                  </a:schemeClr>
                </a:solidFill>
              </a:rPr>
              <a:t>2023</a:t>
            </a:r>
          </a:p>
          <a:p>
            <a:pPr marL="846146" lvl="1" indent="-172800">
              <a:buFont typeface="Arial" panose="020B0604020202020204" pitchFamily="34" charset="0"/>
              <a:buChar char="•"/>
            </a:pPr>
            <a:r>
              <a:rPr lang="nb-NO" sz="1200"/>
              <a:t>Budsjettert lønnsmasse 2023 x 3</a:t>
            </a: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,3% (= anslått lønnsvekst 2023 4,1% minus overheng 0,8%)</a:t>
            </a:r>
          </a:p>
          <a:p>
            <a:pPr marL="846146" lvl="1" indent="-17280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</a:rPr>
              <a:t>Bruk justeringskode «LVEKST_AAR1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Bruk </a:t>
            </a:r>
            <a:r>
              <a:rPr lang="nb-NO" sz="1800" err="1"/>
              <a:t>autoposteringskode</a:t>
            </a:r>
            <a:r>
              <a:rPr lang="nb-NO" sz="1800"/>
              <a:t> AFP_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Mao: «lønnsmasse» = lønn </a:t>
            </a:r>
            <a:r>
              <a:rPr lang="nb-NO" sz="1800" i="1"/>
              <a:t>unntatt sosiale kostnader</a:t>
            </a:r>
          </a:p>
          <a:p>
            <a:pPr marL="846000" lvl="1" indent="-171450">
              <a:buFont typeface="Arial" panose="020B0604020202020204" pitchFamily="34" charset="0"/>
              <a:buChar char="•"/>
            </a:pPr>
            <a:r>
              <a:rPr lang="nb-NO" sz="1200"/>
              <a:t>Sosiale kostnader hensyntas gjennom </a:t>
            </a:r>
            <a:r>
              <a:rPr lang="nb-NO" sz="1200" err="1"/>
              <a:t>autoposteringskode</a:t>
            </a:r>
            <a:r>
              <a:rPr lang="nb-NO" sz="1200"/>
              <a:t> AFP_1</a:t>
            </a:r>
          </a:p>
          <a:p>
            <a:pPr marL="560396" lvl="1" indent="0">
              <a:buNone/>
            </a:pPr>
            <a:endParaRPr lang="nb-NO" sz="12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CA1DAB6-D0B8-42A2-8E79-30B86860A5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0CBEFE1-AAC2-4CDC-AB69-D6C06AC92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E2E3341F-AB5A-4E4F-AEFA-B1D074AAE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552644"/>
            <a:ext cx="11471910" cy="542658"/>
          </a:xfrm>
        </p:spPr>
        <p:txBody>
          <a:bodyPr/>
          <a:lstStyle/>
          <a:p>
            <a:r>
              <a:rPr lang="nb-NO"/>
              <a:t>Lønnsvekst: Konkret oppskrift BEVAAR2023</a:t>
            </a:r>
          </a:p>
        </p:txBody>
      </p:sp>
    </p:spTree>
    <p:extLst>
      <p:ext uri="{BB962C8B-B14F-4D97-AF65-F5344CB8AC3E}">
        <p14:creationId xmlns:p14="http://schemas.microsoft.com/office/powerpoint/2010/main" val="12739813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19480BE1-FD0A-44D6-BE25-DCFB48FCDEF1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446216"/>
            <a:ext cx="11471910" cy="48173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tx1"/>
                </a:solidFill>
              </a:rPr>
              <a:t>Legge inn som kronebeløp i BEVLTB, i transaksjonsregistreringsbilde LTB_DRI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>
                <a:solidFill>
                  <a:schemeClr val="tx1"/>
                </a:solidFill>
              </a:rPr>
              <a:t>Legges inn for alle årene i langtidsperio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Beregne pottene:</a:t>
            </a:r>
          </a:p>
          <a:p>
            <a:pPr marL="560396" lvl="1" indent="0">
              <a:buNone/>
            </a:pPr>
            <a:r>
              <a:rPr lang="nb-NO" sz="1200" u="sng">
                <a:solidFill>
                  <a:schemeClr val="tx1">
                    <a:lumMod val="85000"/>
                    <a:lumOff val="15000"/>
                  </a:schemeClr>
                </a:solidFill>
              </a:rPr>
              <a:t>2022</a:t>
            </a: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Budsjettert lønnsmasse 2023 x 2,3%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</a:rPr>
              <a:t>Bruk justeringskode «LVEKST_AAR0»</a:t>
            </a:r>
          </a:p>
          <a:p>
            <a:pPr marL="560396" lvl="1" indent="0">
              <a:buNone/>
            </a:pPr>
            <a:r>
              <a:rPr lang="nb-NO" sz="1200" u="sng">
                <a:solidFill>
                  <a:schemeClr val="tx1">
                    <a:lumMod val="85000"/>
                    <a:lumOff val="15000"/>
                  </a:schemeClr>
                </a:solidFill>
              </a:rPr>
              <a:t>2023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Budsjettert lønnsmasse 2023 x 3</a:t>
            </a: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  <a:ea typeface="Calibri" panose="020F0502020204030204" pitchFamily="34" charset="0"/>
              </a:rPr>
              <a:t>,3% (= anslått lønnsvekst 2023 4,1% minus overheng 0,8%)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>
                    <a:lumMod val="85000"/>
                    <a:lumOff val="15000"/>
                  </a:schemeClr>
                </a:solidFill>
              </a:rPr>
              <a:t>Bruk justeringskode «LVEKST_AAR1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Bruk </a:t>
            </a:r>
            <a:r>
              <a:rPr lang="nb-NO" sz="1800" err="1"/>
              <a:t>autoposteringskode</a:t>
            </a:r>
            <a:r>
              <a:rPr lang="nb-NO" sz="1800"/>
              <a:t> SK_LT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Ulik logikk mht. </a:t>
            </a:r>
            <a:r>
              <a:rPr lang="nb-NO" sz="1800" err="1"/>
              <a:t>autoposteringskode</a:t>
            </a:r>
            <a:r>
              <a:rPr lang="nb-NO" sz="1800"/>
              <a:t> i BEVLTB vs. BEVAAR –&gt; ulik logikk mht. lønnsvekstpottene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Logikken i BEVLTB: </a:t>
            </a:r>
            <a:r>
              <a:rPr lang="nb-NO" sz="1200" err="1"/>
              <a:t>Autoposteringskode</a:t>
            </a:r>
            <a:r>
              <a:rPr lang="nb-NO" sz="1200"/>
              <a:t> SK_LTB hensyntar </a:t>
            </a:r>
            <a:r>
              <a:rPr lang="nb-NO" sz="1200" i="1"/>
              <a:t>ikke</a:t>
            </a:r>
            <a:r>
              <a:rPr lang="nb-NO" sz="1200"/>
              <a:t> feriepenger (motsatt AFP_1). I BEVLTB hensyntas feriedagene i stedet som del av «årslønn»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Dette betyr: ved beregning av lønnsvekstpott for BEVLTB så skal «lønnsmasse» her inkludere lønn for feriedager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Gitt at ansattmassen ikke endrer seg, så vil imidlertid den samlede lønnsvekstpotten bli den samme i BEVAAR og BEVLTB</a:t>
            </a:r>
          </a:p>
          <a:p>
            <a:pPr marL="1303369" lvl="2" indent="-285750">
              <a:buFont typeface="Arial" panose="020B0604020202020204" pitchFamily="34" charset="0"/>
              <a:buChar char="•"/>
            </a:pPr>
            <a:r>
              <a:rPr lang="nb-NO" sz="1050"/>
              <a:t>I BEVLTB: Litt høyere lønnsvekstpott </a:t>
            </a:r>
            <a:r>
              <a:rPr lang="nb-NO" sz="1050" i="1"/>
              <a:t>før</a:t>
            </a:r>
            <a:r>
              <a:rPr lang="nb-NO" sz="1050"/>
              <a:t> </a:t>
            </a:r>
            <a:r>
              <a:rPr lang="nb-NO" sz="1050" err="1"/>
              <a:t>autoposteringer</a:t>
            </a:r>
            <a:r>
              <a:rPr lang="nb-NO" sz="1050"/>
              <a:t>, - men samme </a:t>
            </a:r>
            <a:r>
              <a:rPr lang="nb-NO" sz="1050" i="1"/>
              <a:t>etter</a:t>
            </a:r>
            <a:r>
              <a:rPr lang="nb-NO" sz="1050"/>
              <a:t> </a:t>
            </a:r>
            <a:r>
              <a:rPr lang="nb-NO" sz="1050" err="1"/>
              <a:t>autoposteringer</a:t>
            </a:r>
            <a:endParaRPr lang="nb-NO" sz="105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CA1DAB6-D0B8-42A2-8E79-30B86860A5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0CBEFE1-AAC2-4CDC-AB69-D6C06AC92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E2E3341F-AB5A-4E4F-AEFA-B1D074AAE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552644"/>
            <a:ext cx="11471910" cy="542658"/>
          </a:xfrm>
        </p:spPr>
        <p:txBody>
          <a:bodyPr/>
          <a:lstStyle/>
          <a:p>
            <a:r>
              <a:rPr lang="nb-NO"/>
              <a:t>Lønnsvekst: Konkret oppskrift BEVLTB</a:t>
            </a:r>
          </a:p>
        </p:txBody>
      </p:sp>
    </p:spTree>
    <p:extLst>
      <p:ext uri="{BB962C8B-B14F-4D97-AF65-F5344CB8AC3E}">
        <p14:creationId xmlns:p14="http://schemas.microsoft.com/office/powerpoint/2010/main" val="13565692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DA4DBF6E-56D0-4146-AD0E-36C8D3CBCF25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Lønnsvekstpottene skal til sammen utgjøre 5,6% 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2,3% knyttet til 2022 og 3,3% knyttet til 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Lønnsvekst </a:t>
            </a:r>
            <a:r>
              <a:rPr lang="nb-NO" sz="1800" i="1"/>
              <a:t>er</a:t>
            </a:r>
            <a:r>
              <a:rPr lang="nb-NO" sz="1800"/>
              <a:t> en usikker faktor gitt dagens situasjon, - lite sannsynlig at budsjett/prognose blir bedre av detaljbereg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Gjør gjerne en kontrollsjekk på overordnet nivå etter at regneøvelsene er ferdig! </a:t>
            </a:r>
            <a:r>
              <a:rPr lang="nb-NO" sz="1800">
                <a:sym typeface="Wingdings" panose="05000000000000000000" pitchFamily="2" charset="2"/>
              </a:rPr>
              <a:t></a:t>
            </a:r>
            <a:endParaRPr lang="nb-NO" sz="180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05BE4CEF-C6E9-47CE-9BB7-15885023C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A2A1F16-6509-4B78-8653-07AC093B7F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602C227B-4732-4FB5-AEB3-B30ED8CCD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ønnsvekst: Oppsummert</a:t>
            </a:r>
          </a:p>
        </p:txBody>
      </p:sp>
    </p:spTree>
    <p:extLst>
      <p:ext uri="{BB962C8B-B14F-4D97-AF65-F5344CB8AC3E}">
        <p14:creationId xmlns:p14="http://schemas.microsoft.com/office/powerpoint/2010/main" val="13189960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5EB9A27E-8120-4A9D-AC20-03BED80FE229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5" y="1377696"/>
            <a:ext cx="10253526" cy="4542241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>
                <a:solidFill>
                  <a:schemeClr val="tx1"/>
                </a:solidFill>
              </a:rPr>
              <a:t>Håndtering av sosiale kostnader er ulike i BEVAAR og BEVLTB: </a:t>
            </a:r>
            <a:endParaRPr lang="nb-NO" sz="1800">
              <a:solidFill>
                <a:schemeClr val="tx1"/>
              </a:solidFill>
              <a:cs typeface="Arial"/>
            </a:endParaRPr>
          </a:p>
          <a:p>
            <a:pPr marL="846455" lvl="1" indent="-228600">
              <a:buFont typeface="Arial" panose="020B0604020202020204" pitchFamily="34" charset="0"/>
              <a:buChar char="•"/>
            </a:pPr>
            <a:r>
              <a:rPr lang="nb-NO" sz="1600"/>
              <a:t>BEVAAR skilles de sosiale kostnadene på ulike kontoer (tilsvarende regnskapet) </a:t>
            </a:r>
            <a:endParaRPr lang="nb-NO" sz="1600">
              <a:cs typeface="Arial"/>
            </a:endParaRPr>
          </a:p>
          <a:p>
            <a:pPr marL="846455" lvl="1" indent="-228600">
              <a:buFont typeface="Arial" panose="020B0604020202020204" pitchFamily="34" charset="0"/>
              <a:buChar char="•"/>
            </a:pPr>
            <a:r>
              <a:rPr lang="nb-NO" sz="1600"/>
              <a:t>I BEVLTB skilles ikke dette ut, lønn og sosiale kostnader legges på samme konto f. eks 5001. Man tar utgangspunkt i årslønn og legger til sosiale kostnader.</a:t>
            </a:r>
            <a:endParaRPr lang="nb-NO" sz="1600">
              <a:cs typeface="Arial"/>
            </a:endParaRPr>
          </a:p>
          <a:p>
            <a:pPr marL="617855" lvl="1" indent="0">
              <a:buNone/>
            </a:pPr>
            <a:endParaRPr lang="nb-NO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/>
              <a:t>Pensjonssats: En liten justering i pensjonssats </a:t>
            </a:r>
            <a:r>
              <a:rPr lang="nb-NO" sz="2000" err="1"/>
              <a:t>ift</a:t>
            </a:r>
            <a:r>
              <a:rPr lang="nb-NO" sz="2000"/>
              <a:t>. 2022</a:t>
            </a:r>
            <a:endParaRPr lang="nb-NO" sz="180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600"/>
              <a:t>Ned fra 9% i 2022 til 8,8% i 2023</a:t>
            </a:r>
            <a:endParaRPr lang="nb-NO" sz="160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600"/>
              <a:t>Dette </a:t>
            </a:r>
            <a:r>
              <a:rPr lang="nb-NO" sz="1600" err="1"/>
              <a:t>hensyntas</a:t>
            </a:r>
            <a:r>
              <a:rPr lang="nb-NO" sz="1600"/>
              <a:t> automatisk av systemet gjennom </a:t>
            </a:r>
            <a:r>
              <a:rPr lang="nb-NO" sz="1600" err="1"/>
              <a:t>autoposteringskodene</a:t>
            </a:r>
            <a:r>
              <a:rPr lang="nb-NO" sz="1600"/>
              <a:t>, - dere trenger ikke foreta dere noe</a:t>
            </a:r>
            <a:endParaRPr lang="nb-NO" sz="160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600"/>
              <a:t>Den nye satsen ligger til grunn både for årsbudsjettet 2023 og langtidsprognosen 2024-27</a:t>
            </a:r>
            <a:endParaRPr lang="nb-NO" sz="1600">
              <a:cs typeface="Arial"/>
            </a:endParaRPr>
          </a:p>
          <a:p>
            <a:pPr marL="845820" lvl="1" indent="-285750">
              <a:buFont typeface="Arial" panose="020B0604020202020204" pitchFamily="34" charset="0"/>
              <a:buChar char="•"/>
            </a:pPr>
            <a:r>
              <a:rPr lang="nb-NO" sz="1600">
                <a:cs typeface="Arial"/>
              </a:rPr>
              <a:t>For korrekt beregning av pensjon i BEVAAR legges den inn med 0% i juni og 17,6% i juli. </a:t>
            </a:r>
          </a:p>
          <a:p>
            <a:pPr marL="560070" lvl="1" indent="0">
              <a:buNone/>
            </a:pPr>
            <a:endParaRPr lang="nb-NO" sz="1600">
              <a:cs typeface="Arial"/>
            </a:endParaRP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21B7383E-B0C8-42F1-B19E-38B6C03874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43B73B5-4931-4E45-A2B1-0A3F57765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4EC3587D-FF28-46CF-9F45-593D1516F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655015"/>
            <a:ext cx="9447633" cy="542658"/>
          </a:xfrm>
        </p:spPr>
        <p:txBody>
          <a:bodyPr/>
          <a:lstStyle/>
          <a:p>
            <a:r>
              <a:rPr lang="nb-NO"/>
              <a:t>Satser (2022 </a:t>
            </a:r>
            <a:r>
              <a:rPr lang="nb-NO" err="1"/>
              <a:t>vs</a:t>
            </a:r>
            <a:r>
              <a:rPr lang="nb-NO"/>
              <a:t> 2023)</a:t>
            </a:r>
          </a:p>
        </p:txBody>
      </p:sp>
    </p:spTree>
    <p:extLst>
      <p:ext uri="{BB962C8B-B14F-4D97-AF65-F5344CB8AC3E}">
        <p14:creationId xmlns:p14="http://schemas.microsoft.com/office/powerpoint/2010/main" val="30728749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e 18" descr="Bordplaten på et trebord med naturlig, uskarpt løvverk i bakgrunnen">
            <a:extLst>
              <a:ext uri="{FF2B5EF4-FFF2-40B4-BE49-F238E27FC236}">
                <a16:creationId xmlns:a16="http://schemas.microsoft.com/office/drawing/2014/main" id="{3664D56A-4B3A-43FB-B5AC-60C7E1AA4E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0141"/>
          </a:xfrm>
          <a:prstGeom prst="rect">
            <a:avLst/>
          </a:prstGeom>
        </p:spPr>
      </p:pic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ACBFF843-0B69-4680-B7EC-7953A7918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9A92D2B-C6A1-4492-9EA0-C2F33F74F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8F39D77-C1F4-40A6-9A14-5AE4BFBB6BFC}"/>
              </a:ext>
            </a:extLst>
          </p:cNvPr>
          <p:cNvSpPr txBox="1">
            <a:spLocks/>
          </p:cNvSpPr>
          <p:nvPr/>
        </p:nvSpPr>
        <p:spPr>
          <a:xfrm>
            <a:off x="948813" y="1381213"/>
            <a:ext cx="6912078" cy="1878763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4000"/>
              <a:t>Ny lønnsrapport </a:t>
            </a:r>
            <a:r>
              <a:rPr lang="nb-NO" sz="4000" err="1"/>
              <a:t>Tableau</a:t>
            </a:r>
            <a:endParaRPr lang="nb-NO" sz="4000"/>
          </a:p>
          <a:p>
            <a:r>
              <a:rPr lang="nb-NO" sz="4000"/>
              <a:t>Årsverk – støtte til langtidsprognose</a:t>
            </a:r>
          </a:p>
          <a:p>
            <a:endParaRPr lang="nb-NO" sz="2800"/>
          </a:p>
        </p:txBody>
      </p:sp>
    </p:spTree>
    <p:extLst>
      <p:ext uri="{BB962C8B-B14F-4D97-AF65-F5344CB8AC3E}">
        <p14:creationId xmlns:p14="http://schemas.microsoft.com/office/powerpoint/2010/main" val="17273659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Formål med rapport: Kontrollere import til BEVLT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Har ikke fått rapport fra DFØ for å understøtte importen</a:t>
            </a:r>
          </a:p>
          <a:p>
            <a:pPr marL="560396" lvl="1" indent="0">
              <a:buNone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560396" lvl="1" indent="0">
              <a:buNone/>
            </a:pPr>
            <a:endParaRPr lang="nb-NO" sz="1600"/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560396" lvl="1" indent="0">
              <a:buNone/>
            </a:pPr>
            <a:endParaRPr lang="nb-NO" sz="160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Årsverk – støtte til langtidsprogno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078" y="2430128"/>
            <a:ext cx="10473984" cy="223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4910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Diagram&#10;&#10;Description automatically generated">
            <a:extLst>
              <a:ext uri="{FF2B5EF4-FFF2-40B4-BE49-F238E27FC236}">
                <a16:creationId xmlns:a16="http://schemas.microsoft.com/office/drawing/2014/main" id="{3259FB2C-7D51-A64A-A0C9-034E8FB044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1807" y="99917"/>
            <a:ext cx="3401718" cy="23683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168" y="619144"/>
            <a:ext cx="11431664" cy="754068"/>
          </a:xfrm>
        </p:spPr>
        <p:txBody>
          <a:bodyPr/>
          <a:lstStyle/>
          <a:p>
            <a:r>
              <a:rPr lang="nb-NO"/>
              <a:t>Årsverk – støtte til langtidsprogno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8"/>
          </p:nvPr>
        </p:nvSpPr>
        <p:spPr>
          <a:xfrm>
            <a:off x="380168" y="1256208"/>
            <a:ext cx="9044051" cy="5101030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/>
              <a:buChar char="•"/>
            </a:pPr>
            <a:r>
              <a:rPr lang="nb-NO">
                <a:cs typeface="Arial"/>
              </a:rPr>
              <a:t>Rapporten er basert på årsverkskilden og inneholder ikke økonomidata. Data er tilsvarende som det som rapporteres til DBH. </a:t>
            </a:r>
            <a:endParaRPr lang="nb-NO"/>
          </a:p>
          <a:p>
            <a:pPr marL="285750" indent="-285750">
              <a:buFont typeface="Arial"/>
              <a:buChar char="•"/>
            </a:pPr>
            <a:r>
              <a:rPr lang="nb-NO">
                <a:cs typeface="Arial"/>
              </a:rPr>
              <a:t>Data er hentet fra SAP og viser et </a:t>
            </a:r>
            <a:r>
              <a:rPr lang="nb-NO" u="sng">
                <a:cs typeface="Arial"/>
              </a:rPr>
              <a:t>øyeblikksbilde </a:t>
            </a:r>
            <a:r>
              <a:rPr lang="nb-NO">
                <a:cs typeface="Arial"/>
              </a:rPr>
              <a:t>over alle ansatte ved UiO på det tidspunktet. Dataene kan derfor ikke summeres og vil ikke inneholde folk som ikke er ansatt på det tidspunktet. </a:t>
            </a:r>
          </a:p>
          <a:p>
            <a:pPr marL="285750" indent="-285750">
              <a:buFont typeface="Arial"/>
              <a:buChar char="•"/>
            </a:pPr>
            <a:r>
              <a:rPr lang="nb-NO">
                <a:cs typeface="Arial"/>
              </a:rPr>
              <a:t>Fratredelsesdato fram i tid vil være inkludert</a:t>
            </a:r>
          </a:p>
          <a:p>
            <a:pPr marL="285750" indent="-285750">
              <a:buFont typeface="Arial"/>
              <a:buChar char="•"/>
            </a:pPr>
            <a:r>
              <a:rPr lang="nb-NO">
                <a:cs typeface="Arial"/>
              </a:rPr>
              <a:t>Vi benytter live dataene fra SAP for å få mest mulig oppdaterte data. Dataene i SAP "lever" og oppdateres hver natt og 6 </a:t>
            </a:r>
            <a:r>
              <a:rPr lang="nb-NO" err="1">
                <a:cs typeface="Arial"/>
              </a:rPr>
              <a:t>mnd</a:t>
            </a:r>
            <a:r>
              <a:rPr lang="nb-NO">
                <a:cs typeface="Arial"/>
              </a:rPr>
              <a:t> tilbake i tid. </a:t>
            </a:r>
          </a:p>
          <a:p>
            <a:pPr marL="285750" indent="-285750">
              <a:buFont typeface="Arial"/>
              <a:buChar char="•"/>
            </a:pPr>
            <a:r>
              <a:rPr lang="nb-NO">
                <a:ea typeface="+mn-lt"/>
                <a:cs typeface="+mn-lt"/>
              </a:rPr>
              <a:t>Data hentes per den 1 i hver måned. I eksempelet under </a:t>
            </a:r>
            <a:r>
              <a:rPr lang="nb-NO">
                <a:cs typeface="Arial"/>
              </a:rPr>
              <a:t>er den første ansatt fra 1. juni 2022, og den neste er ansatt fra 3. juni 2022. </a:t>
            </a:r>
            <a:endParaRPr lang="nb-NO"/>
          </a:p>
          <a:p>
            <a:pPr marL="285750" indent="-285750">
              <a:buFont typeface="Arial"/>
              <a:buChar char="•"/>
            </a:pPr>
            <a:endParaRPr lang="nb-NO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nb-NO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nb-NO">
              <a:cs typeface="Arial"/>
            </a:endParaRPr>
          </a:p>
          <a:p>
            <a:pPr marL="0" indent="0"/>
            <a:endParaRPr lang="nb-NO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nb-NO"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6" name="Picture 6" descr="Table&#10;&#10;Description automatically generated">
            <a:extLst>
              <a:ext uri="{FF2B5EF4-FFF2-40B4-BE49-F238E27FC236}">
                <a16:creationId xmlns:a16="http://schemas.microsoft.com/office/drawing/2014/main" id="{016F9AE6-D829-3E0C-D2FC-D72D5694C9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1265" y="4485914"/>
            <a:ext cx="5632450" cy="1438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448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D6265-2DFF-882E-8586-6E4ABED1F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Rapport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180851-1093-5580-E941-880894599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6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A0DD73A-11A0-9D8D-E446-662C0D839A8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5575" y="93439"/>
            <a:ext cx="9375072" cy="6764561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7E70ABA5-D8CD-4224-A5DB-ECA1DECDB7E4}"/>
              </a:ext>
            </a:extLst>
          </p:cNvPr>
          <p:cNvSpPr/>
          <p:nvPr/>
        </p:nvSpPr>
        <p:spPr>
          <a:xfrm>
            <a:off x="154112" y="5395227"/>
            <a:ext cx="3830128" cy="624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32A206-6B65-F442-FD6B-27B351BEBAD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134437" y="5329977"/>
            <a:ext cx="11431664" cy="75406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/>
            <a:endParaRPr lang="en-US" sz="1400">
              <a:ea typeface="+mn-lt"/>
              <a:cs typeface="+mn-lt"/>
            </a:endParaRPr>
          </a:p>
          <a:p>
            <a:pPr marL="0" indent="0"/>
            <a:r>
              <a:rPr lang="en-US" sz="1600">
                <a:ea typeface="+mn-lt"/>
                <a:cs typeface="+mn-lt"/>
                <a:hlinkClick r:id="rId4"/>
              </a:rPr>
              <a:t>Lenke til rapporten</a:t>
            </a:r>
            <a:r>
              <a:rPr lang="en-US" sz="1600">
                <a:ea typeface="+mn-lt"/>
                <a:cs typeface="+mn-lt"/>
              </a:rPr>
              <a:t> </a:t>
            </a:r>
          </a:p>
          <a:p>
            <a:pPr marL="0" indent="0"/>
            <a:endParaRPr lang="en-US" sz="14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44151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Table&#10;&#10;Description automatically generated">
            <a:extLst>
              <a:ext uri="{FF2B5EF4-FFF2-40B4-BE49-F238E27FC236}">
                <a16:creationId xmlns:a16="http://schemas.microsoft.com/office/drawing/2014/main" id="{8D0C01D7-AF8B-35D4-43AD-8E4AC8948CC5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244718" y="1095844"/>
            <a:ext cx="11468100" cy="1743075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31C683-B836-A11E-9910-ED3B54250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38452F-B473-73CE-500A-FCA0AF8DE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BE7283-32F0-AFBF-5BA1-E98CC0408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Et </a:t>
            </a:r>
            <a:r>
              <a:rPr lang="en-US" err="1">
                <a:cs typeface="Arial"/>
              </a:rPr>
              <a:t>eksempel</a:t>
            </a:r>
            <a:r>
              <a:rPr lang="en-US">
                <a:cs typeface="Arial"/>
              </a:rPr>
              <a:t> </a:t>
            </a:r>
            <a:endParaRPr lang="en-US"/>
          </a:p>
        </p:txBody>
      </p:sp>
      <p:pic>
        <p:nvPicPr>
          <p:cNvPr id="7" name="Picture 7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8C5F734B-AF2E-BF15-B049-57390ABDB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895" y="3038147"/>
            <a:ext cx="9481334" cy="2160156"/>
          </a:xfrm>
          <a:prstGeom prst="rect">
            <a:avLst/>
          </a:prstGeom>
        </p:spPr>
      </p:pic>
      <p:pic>
        <p:nvPicPr>
          <p:cNvPr id="8" name="Picture 8" descr="Graphical user interface, chart, application&#10;&#10;Description automatically generated">
            <a:extLst>
              <a:ext uri="{FF2B5EF4-FFF2-40B4-BE49-F238E27FC236}">
                <a16:creationId xmlns:a16="http://schemas.microsoft.com/office/drawing/2014/main" id="{3945A00E-7BE8-AD2B-4013-2CE4C06A30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7389" y="4114548"/>
            <a:ext cx="8565222" cy="2550205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4B4E9F3A-BE2E-24C0-5AC0-0D7255B47B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92597" y="4954552"/>
            <a:ext cx="2019300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23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dan jobbe med den nye rapporten?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380168" y="3959561"/>
            <a:ext cx="5486400" cy="97155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168" y="1462309"/>
            <a:ext cx="8305800" cy="192405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002379" y="4090737"/>
            <a:ext cx="46923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/>
              <a:t>Rapport:</a:t>
            </a:r>
          </a:p>
          <a:p>
            <a:r>
              <a:rPr lang="nb-NO" sz="1600"/>
              <a:t>Unit4:</a:t>
            </a:r>
          </a:p>
          <a:p>
            <a:r>
              <a:rPr lang="nb-NO" sz="1600"/>
              <a:t>Planlegger/Delt/Årsverk budsjett og prognose/ Årsverk BEVLTB_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75DE52C-4ECC-4A33-BFC5-71D475920094}"/>
              </a:ext>
            </a:extLst>
          </p:cNvPr>
          <p:cNvSpPr txBox="1"/>
          <p:nvPr/>
        </p:nvSpPr>
        <p:spPr>
          <a:xfrm>
            <a:off x="9125146" y="2168165"/>
            <a:ext cx="1960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Tar spørring over i Analyser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CE80724B-E40B-410F-B620-7662A3A734B9}"/>
              </a:ext>
            </a:extLst>
          </p:cNvPr>
          <p:cNvSpPr txBox="1"/>
          <p:nvPr/>
        </p:nvSpPr>
        <p:spPr>
          <a:xfrm>
            <a:off x="380167" y="5167955"/>
            <a:ext cx="2542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Dataeksportering til Excel fra Analyser for å få med desimaler</a:t>
            </a:r>
          </a:p>
        </p:txBody>
      </p:sp>
    </p:spTree>
    <p:extLst>
      <p:ext uri="{BB962C8B-B14F-4D97-AF65-F5344CB8AC3E}">
        <p14:creationId xmlns:p14="http://schemas.microsoft.com/office/powerpoint/2010/main" val="1327334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DCB138-502D-4AD4-973F-9CF7A2655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0C51-E40F-444B-AC16-A3D5EC5525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C7111E-BCD5-4713-BF29-55C3643B16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97280">
              <a:defRPr/>
            </a:pPr>
            <a:fld id="{AA8916B1-5B0A-4BA8-8794-3D037D7341E7}" type="slidenum">
              <a:rPr lang="en-US" altLang="nb-NO">
                <a:solidFill>
                  <a:srgbClr val="808080"/>
                </a:solidFill>
                <a:latin typeface="Arial"/>
                <a:ea typeface="ヒラギノ角ゴ Pro W3"/>
              </a:rPr>
              <a:pPr defTabSz="1097280">
                <a:defRPr/>
              </a:pPr>
              <a:t>2</a:t>
            </a:fld>
            <a:endParaRPr lang="en-US" altLang="nb-NO">
              <a:solidFill>
                <a:srgbClr val="808080"/>
              </a:solidFill>
              <a:latin typeface="Arial"/>
              <a:ea typeface="ヒラギノ角ゴ Pro W3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66D199-D730-4F9D-8B44-6B60D0ACE054}"/>
              </a:ext>
            </a:extLst>
          </p:cNvPr>
          <p:cNvSpPr/>
          <p:nvPr/>
        </p:nvSpPr>
        <p:spPr bwMode="auto">
          <a:xfrm>
            <a:off x="967740" y="1089023"/>
            <a:ext cx="10256520" cy="5074920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5280" b="1">
                <a:solidFill>
                  <a:srgbClr val="000000"/>
                </a:solidFill>
                <a:latin typeface="Arial"/>
                <a:ea typeface="ヒラギノ角ゴ Pro W3"/>
              </a:rPr>
              <a:t>Velkommen!</a:t>
            </a:r>
            <a:endParaRPr lang="nb-NO" sz="5280" b="1">
              <a:solidFill>
                <a:srgbClr val="000000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971115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dan jobbe med den nye rapporten?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267118" y="1593357"/>
            <a:ext cx="11433175" cy="2931009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575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dan jobbe med andre lønnsrapporter?</a:t>
            </a:r>
            <a:br>
              <a:rPr lang="nb-NO"/>
            </a:br>
            <a:r>
              <a:rPr lang="nb-NO"/>
              <a:t>Årsbudsjet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Sjekker hva som ligger inne i import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endParaRPr lang="nb-NO"/>
          </a:p>
          <a:p>
            <a:r>
              <a:rPr lang="nb-NO"/>
              <a:t>Kan bruke analyse til å sette inn for eksempel navn, stillingskategori og justeringskode</a:t>
            </a:r>
          </a:p>
          <a:p>
            <a:pPr marL="0" indent="0"/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7" name="Picture 6"/>
          <p:cNvPicPr/>
          <p:nvPr/>
        </p:nvPicPr>
        <p:blipFill>
          <a:blip r:embed="rId2"/>
          <a:stretch>
            <a:fillRect/>
          </a:stretch>
        </p:blipFill>
        <p:spPr>
          <a:xfrm>
            <a:off x="380168" y="2207795"/>
            <a:ext cx="5760720" cy="20574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914900" y="3928935"/>
            <a:ext cx="43338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Rapport:</a:t>
            </a:r>
          </a:p>
          <a:p>
            <a:r>
              <a:rPr lang="nb-NO"/>
              <a:t>Unit4:</a:t>
            </a:r>
          </a:p>
          <a:p>
            <a:r>
              <a:rPr lang="nb-NO"/>
              <a:t>Planlegger/Delt/Årsverk budsjett og prognose/ Årsverk BEVAAR 2023</a:t>
            </a:r>
          </a:p>
        </p:txBody>
      </p:sp>
    </p:spTree>
    <p:extLst>
      <p:ext uri="{BB962C8B-B14F-4D97-AF65-F5344CB8AC3E}">
        <p14:creationId xmlns:p14="http://schemas.microsoft.com/office/powerpoint/2010/main" val="17704565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dan jobbe med andre lønnsrapporter?</a:t>
            </a:r>
            <a:br>
              <a:rPr lang="nb-NO"/>
            </a:br>
            <a:r>
              <a:rPr lang="nb-NO"/>
              <a:t>Årsbudsjet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242424"/>
                </a:solidFill>
              </a:rPr>
              <a:t>Se på de importerte tallene, og sammenlign med regnskap og budsjett 2021/2022</a:t>
            </a:r>
          </a:p>
          <a:p>
            <a:pPr marL="0" indent="0"/>
            <a:r>
              <a:rPr lang="nb-NO" sz="1600" err="1">
                <a:solidFill>
                  <a:srgbClr val="242424"/>
                </a:solidFill>
              </a:rPr>
              <a:t>Tableau</a:t>
            </a:r>
            <a:r>
              <a:rPr lang="nb-NO" sz="1600">
                <a:solidFill>
                  <a:srgbClr val="242424"/>
                </a:solidFill>
              </a:rPr>
              <a:t>: UiO Økonomioppfølging/ Budsjett og prognose </a:t>
            </a:r>
            <a:r>
              <a:rPr lang="nb-NO" sz="1600" err="1">
                <a:solidFill>
                  <a:srgbClr val="242424"/>
                </a:solidFill>
              </a:rPr>
              <a:t>årsperspektiv</a:t>
            </a:r>
            <a:r>
              <a:rPr lang="nb-NO" sz="1600">
                <a:solidFill>
                  <a:srgbClr val="242424"/>
                </a:solidFill>
              </a:rPr>
              <a:t>/Bevilgning/BOA</a:t>
            </a:r>
          </a:p>
          <a:p>
            <a:pPr marL="0" indent="0"/>
            <a:endParaRPr lang="nb-NO" sz="1600">
              <a:solidFill>
                <a:srgbClr val="242424"/>
              </a:solidFill>
            </a:endParaRPr>
          </a:p>
          <a:p>
            <a:pPr marL="0" indent="0"/>
            <a:endParaRPr lang="nb-NO" sz="1600">
              <a:solidFill>
                <a:srgbClr val="24242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>
              <a:solidFill>
                <a:srgbClr val="24242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>
              <a:solidFill>
                <a:srgbClr val="24242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>
              <a:solidFill>
                <a:srgbClr val="24242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>
              <a:solidFill>
                <a:srgbClr val="24242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>
              <a:solidFill>
                <a:srgbClr val="242424"/>
              </a:solidFill>
            </a:endParaRPr>
          </a:p>
          <a:p>
            <a:pPr marL="0" indent="0"/>
            <a:endParaRPr lang="nb-NO" sz="1600">
              <a:solidFill>
                <a:srgbClr val="242424"/>
              </a:solidFill>
            </a:endParaRPr>
          </a:p>
          <a:p>
            <a:pPr marL="0" indent="0"/>
            <a:endParaRPr lang="nb-NO" sz="1600">
              <a:solidFill>
                <a:srgbClr val="24242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937" y="1904089"/>
            <a:ext cx="10769466" cy="2778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1275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dan jobbe med andre lønnsrapporter?</a:t>
            </a:r>
            <a:br>
              <a:rPr lang="nb-NO"/>
            </a:br>
            <a:r>
              <a:rPr lang="nb-NO"/>
              <a:t>Årsbudsjet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6" name="Content Placeholder 5"/>
          <p:cNvPicPr>
            <a:picLocks noGrp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280988" y="1697038"/>
            <a:ext cx="8486775" cy="39719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657975" y="4276725"/>
            <a:ext cx="460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Rapport:</a:t>
            </a:r>
          </a:p>
          <a:p>
            <a:r>
              <a:rPr lang="nb-NO"/>
              <a:t>Unit4:</a:t>
            </a:r>
          </a:p>
          <a:p>
            <a:r>
              <a:rPr lang="nb-NO"/>
              <a:t>Planlegger/Delt/Årsverk budsjett og prognose/ Årsverk BEVAAR med budsjettversjon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33754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>
            <a:extLst>
              <a:ext uri="{FF2B5EF4-FFF2-40B4-BE49-F238E27FC236}">
                <a16:creationId xmlns:a16="http://schemas.microsoft.com/office/drawing/2014/main" id="{5CF72D1D-ACB6-F36B-5CB7-1373030CBB2E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394291" y="976126"/>
            <a:ext cx="11471910" cy="2718826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C4572C-1579-4749-B166-EFF01A7BF1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B1FE83-1952-A865-FB1C-F0746C8C9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874BB30-52B6-4A1E-0F4D-6613287AE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Hvordan</a:t>
            </a:r>
            <a:r>
              <a:rPr lang="en-US">
                <a:cs typeface="Arial"/>
              </a:rPr>
              <a:t> lese </a:t>
            </a:r>
            <a:r>
              <a:rPr lang="en-US" err="1">
                <a:cs typeface="Arial"/>
              </a:rPr>
              <a:t>informasjonen</a:t>
            </a:r>
            <a:r>
              <a:rPr lang="en-US">
                <a:cs typeface="Arial"/>
              </a:rPr>
              <a:t> I LTB_STILLING?</a:t>
            </a:r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8322E2-9C84-6BEA-1EC6-3387B53EC9EA}"/>
              </a:ext>
            </a:extLst>
          </p:cNvPr>
          <p:cNvSpPr txBox="1"/>
          <p:nvPr/>
        </p:nvSpPr>
        <p:spPr>
          <a:xfrm>
            <a:off x="585053" y="3981219"/>
            <a:ext cx="10683673" cy="19856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err="1">
                <a:cs typeface="Arial"/>
              </a:rPr>
              <a:t>Antallet</a:t>
            </a:r>
            <a:r>
              <a:rPr lang="en-US" sz="1600">
                <a:cs typeface="Arial"/>
              </a:rPr>
              <a:t> </a:t>
            </a:r>
            <a:r>
              <a:rPr lang="en-US" sz="1600" err="1">
                <a:cs typeface="Arial"/>
              </a:rPr>
              <a:t>på</a:t>
            </a:r>
            <a:r>
              <a:rPr lang="en-US" sz="1600">
                <a:cs typeface="Arial"/>
              </a:rPr>
              <a:t> </a:t>
            </a:r>
            <a:r>
              <a:rPr lang="en-US" sz="1600" err="1">
                <a:cs typeface="Arial"/>
              </a:rPr>
              <a:t>hovedlinjen</a:t>
            </a:r>
            <a:r>
              <a:rPr lang="en-US" sz="1600">
                <a:cs typeface="Arial"/>
              </a:rPr>
              <a:t> er </a:t>
            </a:r>
            <a:r>
              <a:rPr lang="en-US" sz="1600" err="1">
                <a:cs typeface="Arial"/>
              </a:rPr>
              <a:t>gjennomsnittet</a:t>
            </a:r>
            <a:r>
              <a:rPr lang="en-US" sz="1600">
                <a:cs typeface="Arial"/>
              </a:rPr>
              <a:t> av </a:t>
            </a:r>
            <a:r>
              <a:rPr lang="en-US" sz="1600" err="1">
                <a:cs typeface="Arial"/>
              </a:rPr>
              <a:t>Antallet</a:t>
            </a:r>
            <a:r>
              <a:rPr lang="en-US" sz="1600">
                <a:cs typeface="Arial"/>
              </a:rPr>
              <a:t> </a:t>
            </a:r>
            <a:r>
              <a:rPr lang="en-US" sz="1600" err="1">
                <a:cs typeface="Arial"/>
              </a:rPr>
              <a:t>i</a:t>
            </a:r>
            <a:r>
              <a:rPr lang="en-US" sz="1600">
                <a:cs typeface="Arial"/>
              </a:rPr>
              <a:t> </a:t>
            </a:r>
            <a:r>
              <a:rPr lang="en-US" sz="1600" err="1">
                <a:cs typeface="Arial"/>
              </a:rPr>
              <a:t>Periodesverdivinduet</a:t>
            </a:r>
            <a:r>
              <a:rPr lang="en-US" sz="1600">
                <a:cs typeface="Arial"/>
              </a:rPr>
              <a:t>. Endringer </a:t>
            </a:r>
            <a:r>
              <a:rPr lang="en-US" sz="1600" err="1">
                <a:cs typeface="Arial"/>
              </a:rPr>
              <a:t>gjøres</a:t>
            </a:r>
            <a:r>
              <a:rPr lang="en-US" sz="1600">
                <a:cs typeface="Arial"/>
              </a:rPr>
              <a:t> I </a:t>
            </a:r>
            <a:r>
              <a:rPr lang="en-US" sz="1600" err="1">
                <a:cs typeface="Arial"/>
              </a:rPr>
              <a:t>Periodesverdivinduet</a:t>
            </a:r>
            <a:r>
              <a:rPr lang="en-US" sz="1600">
                <a:cs typeface="Arial"/>
              </a:rPr>
              <a:t>. 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err="1">
                <a:cs typeface="Arial"/>
              </a:rPr>
              <a:t>Gjennomsnittsprisen</a:t>
            </a:r>
            <a:r>
              <a:rPr lang="en-US" sz="1600">
                <a:cs typeface="Arial"/>
              </a:rPr>
              <a:t> </a:t>
            </a:r>
            <a:r>
              <a:rPr lang="en-US" sz="1600" err="1">
                <a:cs typeface="Arial"/>
              </a:rPr>
              <a:t>på</a:t>
            </a:r>
            <a:r>
              <a:rPr lang="en-US" sz="1600">
                <a:cs typeface="Arial"/>
              </a:rPr>
              <a:t> </a:t>
            </a:r>
            <a:r>
              <a:rPr lang="en-US" sz="1600" err="1">
                <a:cs typeface="Arial"/>
              </a:rPr>
              <a:t>hovedlinjen</a:t>
            </a:r>
            <a:r>
              <a:rPr lang="en-US" sz="1600">
                <a:cs typeface="Arial"/>
              </a:rPr>
              <a:t> er </a:t>
            </a:r>
            <a:r>
              <a:rPr lang="en-US" sz="1600" err="1">
                <a:cs typeface="Arial"/>
              </a:rPr>
              <a:t>gjennomsnittet</a:t>
            </a:r>
            <a:r>
              <a:rPr lang="en-US" sz="1600">
                <a:cs typeface="Arial"/>
              </a:rPr>
              <a:t> av </a:t>
            </a:r>
            <a:r>
              <a:rPr lang="en-US" sz="1600" err="1">
                <a:cs typeface="Arial"/>
              </a:rPr>
              <a:t>prisen</a:t>
            </a:r>
            <a:r>
              <a:rPr lang="en-US" sz="1600">
                <a:cs typeface="Arial"/>
              </a:rPr>
              <a:t> I </a:t>
            </a:r>
            <a:r>
              <a:rPr lang="en-US" sz="1600" err="1">
                <a:cs typeface="Arial"/>
              </a:rPr>
              <a:t>periodesverdivinduet</a:t>
            </a:r>
            <a:r>
              <a:rPr lang="en-US" sz="1600">
                <a:cs typeface="Arial"/>
              </a:rPr>
              <a:t>. 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err="1">
                <a:cs typeface="Arial"/>
              </a:rPr>
              <a:t>Kostnaden</a:t>
            </a:r>
            <a:r>
              <a:rPr lang="en-US" sz="1600">
                <a:cs typeface="Arial"/>
              </a:rPr>
              <a:t> per </a:t>
            </a:r>
            <a:r>
              <a:rPr lang="en-US" sz="1600" err="1">
                <a:cs typeface="Arial"/>
              </a:rPr>
              <a:t>år</a:t>
            </a:r>
            <a:r>
              <a:rPr lang="en-US" sz="1600">
                <a:cs typeface="Arial"/>
              </a:rPr>
              <a:t> er </a:t>
            </a:r>
            <a:r>
              <a:rPr lang="en-US" sz="1600" err="1">
                <a:cs typeface="Arial"/>
              </a:rPr>
              <a:t>antallet</a:t>
            </a:r>
            <a:r>
              <a:rPr lang="en-US" sz="1600">
                <a:cs typeface="Arial"/>
              </a:rPr>
              <a:t> I det </a:t>
            </a:r>
            <a:r>
              <a:rPr lang="en-US" sz="1600" err="1">
                <a:cs typeface="Arial"/>
              </a:rPr>
              <a:t>enkelte</a:t>
            </a:r>
            <a:r>
              <a:rPr lang="en-US" sz="1600">
                <a:cs typeface="Arial"/>
              </a:rPr>
              <a:t> </a:t>
            </a:r>
            <a:r>
              <a:rPr lang="en-US" sz="1600" err="1">
                <a:cs typeface="Arial"/>
              </a:rPr>
              <a:t>år</a:t>
            </a:r>
            <a:r>
              <a:rPr lang="en-US" sz="1600">
                <a:cs typeface="Arial"/>
              </a:rPr>
              <a:t>: antall * pris= </a:t>
            </a:r>
            <a:r>
              <a:rPr lang="en-US" sz="1600" err="1">
                <a:cs typeface="Arial"/>
              </a:rPr>
              <a:t>Budsjett</a:t>
            </a:r>
            <a:endParaRPr lang="en-US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92248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51EBF20-641C-E1D4-809F-C67A7162428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180247" y="3708072"/>
            <a:ext cx="11044856" cy="491860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DFAA3A-66A1-3EFE-F245-B9F750933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F33AE4-9AC8-B3FD-F7EC-5A885EA98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A839003-19ED-B90A-1E2C-FF015542E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Import av data </a:t>
            </a:r>
            <a:r>
              <a:rPr lang="en-US" err="1">
                <a:cs typeface="Arial"/>
              </a:rPr>
              <a:t>til</a:t>
            </a:r>
            <a:r>
              <a:rPr lang="en-US">
                <a:cs typeface="Arial"/>
              </a:rPr>
              <a:t> BEVLTB I </a:t>
            </a:r>
            <a:r>
              <a:rPr lang="en-US" err="1">
                <a:cs typeface="Arial"/>
              </a:rPr>
              <a:t>år</a:t>
            </a:r>
            <a:r>
              <a:rPr lang="en-US">
                <a:cs typeface="Arial"/>
              </a:rPr>
              <a:t> vs I </a:t>
            </a:r>
            <a:r>
              <a:rPr lang="en-US" err="1">
                <a:cs typeface="Arial"/>
              </a:rPr>
              <a:t>fjo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DA3623-30D1-B04A-D4B2-ABC12F6A1595}"/>
              </a:ext>
            </a:extLst>
          </p:cNvPr>
          <p:cNvSpPr txBox="1"/>
          <p:nvPr/>
        </p:nvSpPr>
        <p:spPr>
          <a:xfrm>
            <a:off x="138633" y="3400892"/>
            <a:ext cx="1117875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BEVAAR: </a:t>
            </a:r>
          </a:p>
          <a:p>
            <a:endParaRPr lang="en-US" sz="1200">
              <a:cs typeface="Arial"/>
            </a:endParaRPr>
          </a:p>
          <a:p>
            <a:endParaRPr lang="en-US" sz="1200">
              <a:cs typeface="Arial"/>
            </a:endParaRPr>
          </a:p>
          <a:p>
            <a:endParaRPr lang="en-US" sz="1200">
              <a:cs typeface="Arial"/>
            </a:endParaRPr>
          </a:p>
          <a:p>
            <a:r>
              <a:rPr lang="en-US" sz="1200">
                <a:cs typeface="Arial"/>
              </a:rPr>
              <a:t>BEVLTB: </a:t>
            </a:r>
            <a:endParaRPr lang="en-US"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>
              <a:cs typeface="Arial"/>
            </a:endParaRP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522E8A11-DEF8-1470-6F50-93C28CDCB6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389" y="4440650"/>
            <a:ext cx="11259178" cy="37832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ECBDD3C-3FFC-0ED7-5DC0-0CCEC827B38F}"/>
              </a:ext>
            </a:extLst>
          </p:cNvPr>
          <p:cNvSpPr txBox="1"/>
          <p:nvPr/>
        </p:nvSpPr>
        <p:spPr>
          <a:xfrm>
            <a:off x="553974" y="4938408"/>
            <a:ext cx="9716181" cy="8891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0" indent="-171450">
              <a:lnSpc>
                <a:spcPct val="150000"/>
              </a:lnSpc>
              <a:buFont typeface="Arial"/>
              <a:buChar char="•"/>
            </a:pPr>
            <a:r>
              <a:rPr lang="en-US" sz="1200" err="1">
                <a:cs typeface="Arial"/>
              </a:rPr>
              <a:t>Toppvurderinger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som</a:t>
            </a:r>
            <a:r>
              <a:rPr lang="en-US" sz="1200">
                <a:cs typeface="Arial"/>
              </a:rPr>
              <a:t> </a:t>
            </a:r>
            <a:r>
              <a:rPr lang="en-US" sz="1200" err="1">
                <a:cs typeface="Arial"/>
              </a:rPr>
              <a:t>ble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lagt</a:t>
            </a:r>
            <a:r>
              <a:rPr lang="en-US" sz="1200">
                <a:cs typeface="Arial"/>
              </a:rPr>
              <a:t> </a:t>
            </a:r>
            <a:r>
              <a:rPr lang="en-US" sz="1200" err="1">
                <a:cs typeface="Arial"/>
              </a:rPr>
              <a:t>før</a:t>
            </a:r>
            <a:r>
              <a:rPr lang="en-US" sz="1200">
                <a:cs typeface="Arial"/>
              </a:rPr>
              <a:t> </a:t>
            </a:r>
            <a:r>
              <a:rPr lang="en-US" sz="1200" err="1">
                <a:cs typeface="Arial"/>
              </a:rPr>
              <a:t>justeringen</a:t>
            </a:r>
            <a:r>
              <a:rPr lang="en-US" sz="1200">
                <a:cs typeface="Arial"/>
              </a:rPr>
              <a:t> for </a:t>
            </a:r>
            <a:r>
              <a:rPr lang="en-US" sz="1200" err="1">
                <a:cs typeface="Arial"/>
              </a:rPr>
              <a:t>årene</a:t>
            </a:r>
            <a:r>
              <a:rPr lang="en-US" sz="1200">
                <a:cs typeface="Arial"/>
              </a:rPr>
              <a:t> 2024-2026 </a:t>
            </a:r>
            <a:r>
              <a:rPr lang="en-US" sz="1200" err="1">
                <a:cs typeface="Arial"/>
              </a:rPr>
              <a:t>må</a:t>
            </a:r>
            <a:r>
              <a:rPr lang="en-US" sz="1200">
                <a:cs typeface="Arial"/>
              </a:rPr>
              <a:t> </a:t>
            </a:r>
            <a:r>
              <a:rPr lang="en-US" sz="1200" err="1">
                <a:cs typeface="Arial"/>
              </a:rPr>
              <a:t>gjennomgås</a:t>
            </a:r>
            <a:r>
              <a:rPr lang="en-US" sz="1200">
                <a:cs typeface="Arial"/>
              </a:rPr>
              <a:t> </a:t>
            </a:r>
            <a:r>
              <a:rPr lang="en-US" sz="1200" err="1">
                <a:cs typeface="Arial"/>
              </a:rPr>
              <a:t>og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justeres</a:t>
            </a:r>
            <a:r>
              <a:rPr lang="en-US" sz="1200">
                <a:cs typeface="Arial"/>
              </a:rPr>
              <a:t> for å vise </a:t>
            </a:r>
            <a:r>
              <a:rPr lang="en-US" sz="1200" err="1">
                <a:cs typeface="Arial"/>
              </a:rPr>
              <a:t>korrekt</a:t>
            </a:r>
            <a:r>
              <a:rPr lang="en-US" sz="1200">
                <a:cs typeface="Arial"/>
              </a:rPr>
              <a:t> </a:t>
            </a:r>
            <a:r>
              <a:rPr lang="en-US" sz="1200" err="1">
                <a:cs typeface="Arial"/>
              </a:rPr>
              <a:t>informasjon</a:t>
            </a:r>
            <a:r>
              <a:rPr lang="en-US" sz="1200">
                <a:cs typeface="Arial"/>
              </a:rPr>
              <a:t>. </a:t>
            </a:r>
            <a:endParaRPr lang="en-US"/>
          </a:p>
          <a:p>
            <a:pPr>
              <a:lnSpc>
                <a:spcPct val="150000"/>
              </a:lnSpc>
            </a:pPr>
            <a:endParaRPr lang="en-US" sz="1200">
              <a:cs typeface="Arial"/>
            </a:endParaRPr>
          </a:p>
          <a:p>
            <a:pPr>
              <a:lnSpc>
                <a:spcPct val="150000"/>
              </a:lnSpc>
            </a:pPr>
            <a:endParaRPr lang="en-US" sz="1200">
              <a:cs typeface="Arial"/>
            </a:endParaRPr>
          </a:p>
        </p:txBody>
      </p:sp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3B0B5E0B-419F-14CA-D404-D76D280222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9128161"/>
              </p:ext>
            </p:extLst>
          </p:nvPr>
        </p:nvGraphicFramePr>
        <p:xfrm>
          <a:off x="376719" y="1018853"/>
          <a:ext cx="10665909" cy="19743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5303">
                  <a:extLst>
                    <a:ext uri="{9D8B030D-6E8A-4147-A177-3AD203B41FA5}">
                      <a16:colId xmlns:a16="http://schemas.microsoft.com/office/drawing/2014/main" val="2001401936"/>
                    </a:ext>
                  </a:extLst>
                </a:gridCol>
                <a:gridCol w="3555303">
                  <a:extLst>
                    <a:ext uri="{9D8B030D-6E8A-4147-A177-3AD203B41FA5}">
                      <a16:colId xmlns:a16="http://schemas.microsoft.com/office/drawing/2014/main" val="2896129474"/>
                    </a:ext>
                  </a:extLst>
                </a:gridCol>
                <a:gridCol w="3555303">
                  <a:extLst>
                    <a:ext uri="{9D8B030D-6E8A-4147-A177-3AD203B41FA5}">
                      <a16:colId xmlns:a16="http://schemas.microsoft.com/office/drawing/2014/main" val="4007774510"/>
                    </a:ext>
                  </a:extLst>
                </a:gridCol>
              </a:tblGrid>
              <a:tr h="320136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9828963"/>
                  </a:ext>
                </a:extLst>
              </a:tr>
              <a:tr h="41429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Importerte data til BEVLT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Årslønn minus feriedager</a:t>
                      </a:r>
                      <a:endParaRPr lang="en-US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Årslønn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1879229"/>
                  </a:ext>
                </a:extLst>
              </a:tr>
              <a:tr h="41429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Beregning</a:t>
                      </a:r>
                      <a:endParaRPr lang="en-US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Årslønn/52 uker *47 uker</a:t>
                      </a:r>
                      <a:endParaRPr lang="en-US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Årslønn</a:t>
                      </a:r>
                      <a:endParaRPr lang="en-US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8404450"/>
                  </a:ext>
                </a:extLst>
              </a:tr>
              <a:tr h="41429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Eksemp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965000/52*47=872211,5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965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7374717"/>
                  </a:ext>
                </a:extLst>
              </a:tr>
              <a:tr h="32013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Multiplikator</a:t>
                      </a:r>
                      <a:endParaRPr lang="en-US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38,xx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Arial"/>
                        </a:rPr>
                        <a:t>25,5451%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69634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89841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432597C-FCBA-EECC-C754-D1673CF2C1E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25095" indent="-125095"/>
            <a:r>
              <a:rPr lang="en-US">
                <a:cs typeface="Arial"/>
              </a:rPr>
              <a:t>Om man </a:t>
            </a:r>
            <a:r>
              <a:rPr lang="en-US" err="1">
                <a:cs typeface="Arial"/>
              </a:rPr>
              <a:t>skal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legg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til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toppvurderinge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og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ønsker</a:t>
            </a:r>
            <a:r>
              <a:rPr lang="en-US">
                <a:cs typeface="Arial"/>
              </a:rPr>
              <a:t> å </a:t>
            </a:r>
            <a:r>
              <a:rPr lang="en-US" err="1">
                <a:cs typeface="Arial"/>
              </a:rPr>
              <a:t>skill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diss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fra</a:t>
            </a:r>
            <a:r>
              <a:rPr lang="en-US">
                <a:cs typeface="Arial"/>
              </a:rPr>
              <a:t> de </a:t>
            </a:r>
            <a:r>
              <a:rPr lang="en-US" err="1">
                <a:cs typeface="Arial"/>
              </a:rPr>
              <a:t>importert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dataen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gjøres</a:t>
            </a:r>
            <a:r>
              <a:rPr lang="en-US">
                <a:cs typeface="Arial"/>
              </a:rPr>
              <a:t> det </a:t>
            </a:r>
            <a:r>
              <a:rPr lang="en-US" err="1">
                <a:cs typeface="Arial"/>
              </a:rPr>
              <a:t>på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følgend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måte</a:t>
            </a:r>
            <a:r>
              <a:rPr lang="en-US">
                <a:cs typeface="Arial"/>
              </a:rPr>
              <a:t>: 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cs typeface="Arial"/>
              </a:rPr>
              <a:t>Marker </a:t>
            </a:r>
            <a:r>
              <a:rPr lang="en-US" err="1">
                <a:cs typeface="Arial"/>
              </a:rPr>
              <a:t>rad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om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kal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kopieres</a:t>
            </a:r>
            <a:r>
              <a:rPr lang="en-US">
                <a:cs typeface="Arial"/>
              </a:rPr>
              <a:t>. </a:t>
            </a: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Velg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kopier</a:t>
            </a:r>
            <a:r>
              <a:rPr lang="en-US">
                <a:cs typeface="Arial"/>
              </a:rPr>
              <a:t> rad. </a:t>
            </a: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Fjer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justeringskode</a:t>
            </a:r>
            <a:r>
              <a:rPr lang="en-US">
                <a:cs typeface="Arial"/>
              </a:rPr>
              <a:t> IMPORT. Legg </a:t>
            </a:r>
            <a:r>
              <a:rPr lang="en-US" err="1">
                <a:cs typeface="Arial"/>
              </a:rPr>
              <a:t>evt</a:t>
            </a:r>
            <a:r>
              <a:rPr lang="en-US">
                <a:cs typeface="Arial"/>
              </a:rPr>
              <a:t> inn </a:t>
            </a:r>
            <a:r>
              <a:rPr lang="en-US" err="1">
                <a:cs typeface="Arial"/>
              </a:rPr>
              <a:t>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ann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justeringskode</a:t>
            </a:r>
            <a:r>
              <a:rPr lang="en-US">
                <a:cs typeface="Arial"/>
              </a:rPr>
              <a:t> om </a:t>
            </a:r>
            <a:r>
              <a:rPr lang="en-US" err="1">
                <a:cs typeface="Arial"/>
              </a:rPr>
              <a:t>ønskelig</a:t>
            </a:r>
            <a:r>
              <a:rPr lang="en-US">
                <a:cs typeface="Arial"/>
              </a:rPr>
              <a:t>. </a:t>
            </a: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Gjø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endringer</a:t>
            </a:r>
            <a:r>
              <a:rPr lang="en-US">
                <a:cs typeface="Arial"/>
              </a:rPr>
              <a:t> I </a:t>
            </a:r>
            <a:r>
              <a:rPr lang="en-US" err="1">
                <a:cs typeface="Arial"/>
              </a:rPr>
              <a:t>antallet</a:t>
            </a:r>
            <a:r>
              <a:rPr lang="en-US">
                <a:cs typeface="Arial"/>
              </a:rPr>
              <a:t> I </a:t>
            </a:r>
            <a:r>
              <a:rPr lang="en-US" err="1">
                <a:cs typeface="Arial"/>
              </a:rPr>
              <a:t>periodesverdivinduet</a:t>
            </a: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Lagre</a:t>
            </a:r>
            <a:r>
              <a:rPr lang="en-US">
                <a:cs typeface="Arial"/>
              </a:rPr>
              <a:t>. En </a:t>
            </a:r>
            <a:r>
              <a:rPr lang="en-US" err="1">
                <a:cs typeface="Arial"/>
              </a:rPr>
              <a:t>ka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enkelt</a:t>
            </a:r>
            <a:r>
              <a:rPr lang="en-US">
                <a:cs typeface="Arial"/>
              </a:rPr>
              <a:t> se </a:t>
            </a:r>
            <a:r>
              <a:rPr lang="en-US" err="1">
                <a:cs typeface="Arial"/>
              </a:rPr>
              <a:t>hva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om</a:t>
            </a:r>
            <a:r>
              <a:rPr lang="en-US">
                <a:cs typeface="Arial"/>
              </a:rPr>
              <a:t> er </a:t>
            </a:r>
            <a:r>
              <a:rPr lang="en-US" err="1">
                <a:cs typeface="Arial"/>
              </a:rPr>
              <a:t>importert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og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hva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om</a:t>
            </a:r>
            <a:r>
              <a:rPr lang="en-US">
                <a:cs typeface="Arial"/>
              </a:rPr>
              <a:t> er </a:t>
            </a:r>
            <a:r>
              <a:rPr lang="en-US" err="1">
                <a:cs typeface="Arial"/>
              </a:rPr>
              <a:t>toppvurderinger</a:t>
            </a:r>
            <a:r>
              <a:rPr lang="en-US">
                <a:cs typeface="Arial"/>
              </a:rPr>
              <a:t>. </a:t>
            </a:r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C9CD23-8CB9-AAC0-B552-4627D1275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A20B92-AA7B-3956-4F76-DD56FD698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D4181A9-E8BF-BC93-DC4E-0E5FCD5F8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Hvorda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legge</a:t>
            </a:r>
            <a:r>
              <a:rPr lang="en-US">
                <a:cs typeface="Arial"/>
              </a:rPr>
              <a:t> inn </a:t>
            </a:r>
            <a:r>
              <a:rPr lang="en-US" err="1">
                <a:cs typeface="Arial"/>
              </a:rPr>
              <a:t>toppvurderinger</a:t>
            </a:r>
            <a:endParaRPr lang="en-US" err="1"/>
          </a:p>
        </p:txBody>
      </p:sp>
      <p:pic>
        <p:nvPicPr>
          <p:cNvPr id="7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E94DDF03-6D38-F1F5-6497-0C6712D25F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703" y="3672720"/>
            <a:ext cx="10851222" cy="200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0246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D0E1D98-917F-4BA0-0B18-4A8ABE616901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153346066"/>
              </p:ext>
            </p:extLst>
          </p:nvPr>
        </p:nvGraphicFramePr>
        <p:xfrm>
          <a:off x="360363" y="1082675"/>
          <a:ext cx="11471274" cy="249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23758">
                  <a:extLst>
                    <a:ext uri="{9D8B030D-6E8A-4147-A177-3AD203B41FA5}">
                      <a16:colId xmlns:a16="http://schemas.microsoft.com/office/drawing/2014/main" val="3546445169"/>
                    </a:ext>
                  </a:extLst>
                </a:gridCol>
                <a:gridCol w="3823758">
                  <a:extLst>
                    <a:ext uri="{9D8B030D-6E8A-4147-A177-3AD203B41FA5}">
                      <a16:colId xmlns:a16="http://schemas.microsoft.com/office/drawing/2014/main" val="3769888199"/>
                    </a:ext>
                  </a:extLst>
                </a:gridCol>
                <a:gridCol w="3823758">
                  <a:extLst>
                    <a:ext uri="{9D8B030D-6E8A-4147-A177-3AD203B41FA5}">
                      <a16:colId xmlns:a16="http://schemas.microsoft.com/office/drawing/2014/main" val="2240869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43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Pensj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8,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081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A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4,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4,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8964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Feriepe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0460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Gruppelivsforsikring</a:t>
                      </a:r>
                      <a:r>
                        <a:rPr lang="en-US"/>
                        <a:t> per </a:t>
                      </a:r>
                      <a:r>
                        <a:rPr lang="en-US" err="1"/>
                        <a:t>år</a:t>
                      </a:r>
                      <a:r>
                        <a:rPr lang="en-US"/>
                        <a:t> per </a:t>
                      </a:r>
                      <a:r>
                        <a:rPr lang="en-US" err="1"/>
                        <a:t>årsverk</a:t>
                      </a:r>
                      <a:r>
                        <a:rPr lang="en-US"/>
                        <a:t> (</a:t>
                      </a:r>
                      <a:r>
                        <a:rPr lang="en-US" err="1"/>
                        <a:t>må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legges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til</a:t>
                      </a:r>
                      <a:r>
                        <a:rPr lang="en-US"/>
                        <a:t> </a:t>
                      </a:r>
                      <a:r>
                        <a:rPr lang="en-US" err="1"/>
                        <a:t>manuelt</a:t>
                      </a:r>
                      <a:r>
                        <a:rPr lang="en-US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200 </a:t>
                      </a:r>
                      <a:r>
                        <a:rPr lang="en-US" err="1"/>
                        <a:t>kr</a:t>
                      </a:r>
                      <a:r>
                        <a:rPr lang="en-US"/>
                        <a:t>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200 </a:t>
                      </a:r>
                      <a:r>
                        <a:rPr lang="en-US" err="1"/>
                        <a:t>k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2159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Multiplikator</a:t>
                      </a:r>
                      <a:r>
                        <a:rPr lang="en-US"/>
                        <a:t> (</a:t>
                      </a:r>
                      <a:r>
                        <a:rPr lang="en-US" err="1"/>
                        <a:t>til</a:t>
                      </a:r>
                      <a:r>
                        <a:rPr lang="en-US"/>
                        <a:t> BEVLT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8,xx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5,545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0374300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B7F866-9F7A-C22A-8FCA-C8285A8C91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FCE32E-2C76-1E0F-D6A0-90AF8BCA9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E386ED-2D7D-95F9-1FEF-2AEEAAB1E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Satser</a:t>
            </a:r>
            <a:r>
              <a:rPr lang="en-US">
                <a:cs typeface="Arial"/>
              </a:rPr>
              <a:t> UNIT4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8318337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2B29E83C-DB48-44CA-9D3B-9C240DB8A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012" y="356857"/>
            <a:ext cx="9505950" cy="1144906"/>
          </a:xfrm>
        </p:spPr>
        <p:txBody>
          <a:bodyPr/>
          <a:lstStyle/>
          <a:p>
            <a:r>
              <a:rPr lang="nb-NO"/>
              <a:t>Nettside budsjett og prognose</a:t>
            </a:r>
            <a:endParaRPr lang="nb-NO" i="1">
              <a:solidFill>
                <a:srgbClr val="FF0000"/>
              </a:solidFill>
            </a:endParaRP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BFF79084-F304-41BD-A537-4BC69A907B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202" y="1023924"/>
            <a:ext cx="9509760" cy="4114800"/>
          </a:xfrm>
        </p:spPr>
        <p:txBody>
          <a:bodyPr/>
          <a:lstStyle/>
          <a:p>
            <a:pPr marL="0" indent="0">
              <a:buNone/>
            </a:pPr>
            <a:r>
              <a:rPr lang="nb-NO" sz="1440">
                <a:solidFill>
                  <a:srgbClr val="005AAB"/>
                </a:solidFill>
                <a:latin typeface="Arial" panose="020B0604020202020204" pitchFamily="34" charset="0"/>
                <a:hlinkClick r:id="rId3"/>
              </a:rPr>
              <a:t>https://www.uio.no/for-ansatte/arbeidsstotte/virksomhetsstyring/budsjett-prognose.html</a:t>
            </a:r>
            <a:endParaRPr lang="nb-NO" sz="1920" b="1"/>
          </a:p>
          <a:p>
            <a:pPr marL="0" indent="0">
              <a:buNone/>
            </a:pPr>
            <a:endParaRPr lang="nb-NO" sz="144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54018B-7B9C-4768-AAE2-6E0369BDD1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97280" eaLnBrk="0" hangingPunct="0">
              <a:defRPr/>
            </a:pPr>
            <a:fld id="{AA8916B1-5B0A-4BA8-8794-3D037D7341E7}" type="slidenum">
              <a:rPr lang="en-US" altLang="nb-NO" sz="840">
                <a:solidFill>
                  <a:srgbClr val="808080"/>
                </a:solidFill>
                <a:latin typeface="Arial"/>
                <a:ea typeface="ヒラギノ角ゴ Pro W3"/>
              </a:rPr>
              <a:pPr defTabSz="1097280" eaLnBrk="0" hangingPunct="0">
                <a:defRPr/>
              </a:pPr>
              <a:t>28</a:t>
            </a:fld>
            <a:endParaRPr lang="en-US" altLang="nb-NO" sz="840">
              <a:solidFill>
                <a:srgbClr val="808080"/>
              </a:solidFill>
              <a:latin typeface="Arial"/>
              <a:ea typeface="ヒラギノ角ゴ Pro W3"/>
            </a:endParaRP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06F14BDC-08DE-4334-934B-57F1B969FD0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3718" y="1501763"/>
            <a:ext cx="5214357" cy="5151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9969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1FA8302-4FF4-4715-B964-997B6A99A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529" y="948092"/>
            <a:ext cx="10515600" cy="1325563"/>
          </a:xfrm>
        </p:spPr>
        <p:txBody>
          <a:bodyPr/>
          <a:lstStyle/>
          <a:p>
            <a:r>
              <a:rPr lang="nb-NO">
                <a:solidFill>
                  <a:schemeClr val="tx1"/>
                </a:solidFill>
              </a:rPr>
              <a:t>Support og møtepunkter framove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EDCBA4A-1025-4B82-A9A4-2A87CEA46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529" y="1711312"/>
            <a:ext cx="11025700" cy="4351338"/>
          </a:xfrm>
        </p:spPr>
        <p:txBody>
          <a:bodyPr vert="horz" lIns="0" tIns="0" rIns="0" bIns="0" rtlCol="0" anchor="t">
            <a:noAutofit/>
          </a:bodyPr>
          <a:lstStyle/>
          <a:p>
            <a:pPr marL="325120" indent="-325120"/>
            <a:r>
              <a:rPr lang="nb-NO" sz="1800"/>
              <a:t>Digitale arbeidsstuer også påfølgende uker</a:t>
            </a:r>
            <a:endParaRPr lang="en-US"/>
          </a:p>
          <a:p>
            <a:pPr marL="706120" lvl="1" indent="-325120"/>
            <a:r>
              <a:rPr lang="nb-NO" sz="1400"/>
              <a:t>26.10. </a:t>
            </a:r>
            <a:r>
              <a:rPr lang="nb-NO" sz="1400" err="1"/>
              <a:t>kl</a:t>
            </a:r>
            <a:r>
              <a:rPr lang="nb-NO" sz="1400"/>
              <a:t> 13-14 og 1.11. </a:t>
            </a:r>
            <a:r>
              <a:rPr lang="nb-NO" sz="1400" err="1"/>
              <a:t>kl</a:t>
            </a:r>
            <a:r>
              <a:rPr lang="nb-NO" sz="1400"/>
              <a:t> 12-13</a:t>
            </a:r>
            <a:endParaRPr lang="nb-NO" sz="1400">
              <a:cs typeface="Arial"/>
            </a:endParaRPr>
          </a:p>
          <a:p>
            <a:pPr marL="706120" lvl="1" indent="-325120"/>
            <a:r>
              <a:rPr lang="nb-NO" sz="1400"/>
              <a:t>vurderer behov ut over dette</a:t>
            </a:r>
            <a:endParaRPr lang="nb-NO" sz="1400">
              <a:cs typeface="Arial"/>
            </a:endParaRPr>
          </a:p>
          <a:p>
            <a:pPr marL="706120" lvl="1" indent="-325120"/>
            <a:r>
              <a:rPr lang="nb-NO" sz="1400"/>
              <a:t>kom gjerne med innspill på tema og konkrete problemstillinger</a:t>
            </a:r>
            <a:endParaRPr lang="nb-NO" sz="1400">
              <a:cs typeface="Arial"/>
            </a:endParaRPr>
          </a:p>
          <a:p>
            <a:pPr marL="381000" lvl="1" indent="0">
              <a:buNone/>
            </a:pPr>
            <a:endParaRPr lang="nb-NO" sz="1600"/>
          </a:p>
          <a:p>
            <a:pPr marL="325120" indent="-325120"/>
            <a:r>
              <a:rPr lang="nb-NO" sz="1800"/>
              <a:t>Spørsmål på e-post til </a:t>
            </a:r>
            <a:r>
              <a:rPr lang="nb-NO" sz="1800" b="1">
                <a:solidFill>
                  <a:srgbClr val="000000"/>
                </a:solidFill>
                <a:latin typeface="arial"/>
                <a:cs typeface="arial"/>
              </a:rPr>
              <a:t>budsjett@admin.uio.no</a:t>
            </a:r>
            <a:endParaRPr lang="nb-NO" sz="1800" b="1">
              <a:latin typeface="arial"/>
              <a:cs typeface="arial"/>
            </a:endParaRPr>
          </a:p>
          <a:p>
            <a:pPr marL="706120" lvl="1" indent="-325120"/>
            <a:r>
              <a:rPr lang="nb-NO" sz="1400"/>
              <a:t>unngå e-poster til enkeltpersoner i ØVA</a:t>
            </a:r>
            <a:endParaRPr lang="nb-NO" sz="1400">
              <a:cs typeface="Arial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1E3A86-2D63-4331-9333-B8116A166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4F50365-4E4D-4100-BCA3-55140E883697}" type="datetime1">
              <a:rPr lang="nb-NO" altLang="nb-NO" smtClean="0"/>
              <a:pPr>
                <a:defRPr/>
              </a:pPr>
              <a:t>25.10.2022</a:t>
            </a:fld>
            <a:endParaRPr lang="nb-NO" alt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CFC86B-C2BC-491D-B6E5-9F8897FAC1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A8916B1-5B0A-4BA8-8794-3D037D7341E7}" type="slidenum">
              <a:rPr lang="en-US" altLang="nb-NO" smtClean="0"/>
              <a:pPr>
                <a:defRPr/>
              </a:pPr>
              <a:t>29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121089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B63BBB-7669-4F07-8E7A-85307397D9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8091" y="879128"/>
            <a:ext cx="11096746" cy="5246370"/>
          </a:xfrm>
        </p:spPr>
        <p:txBody>
          <a:bodyPr/>
          <a:lstStyle/>
          <a:p>
            <a:pPr marL="0" indent="0">
              <a:buNone/>
            </a:pPr>
            <a:r>
              <a:rPr lang="nb-NO" sz="2850" b="1"/>
              <a:t>Dagens hovedtema: </a:t>
            </a:r>
            <a:endParaRPr lang="nb-NO" sz="2880" b="1"/>
          </a:p>
          <a:p>
            <a:pPr marL="0" indent="0">
              <a:buNone/>
            </a:pPr>
            <a:r>
              <a:rPr lang="nb-NO" sz="2400"/>
              <a:t>Lønn og årsverk</a:t>
            </a:r>
          </a:p>
          <a:p>
            <a:pPr marL="0" indent="0">
              <a:buNone/>
            </a:pPr>
            <a:br>
              <a:rPr lang="nb-NO" sz="1400"/>
            </a:br>
            <a:endParaRPr lang="nb-NO" sz="1440"/>
          </a:p>
          <a:p>
            <a:pPr marL="0" indent="0">
              <a:buNone/>
            </a:pPr>
            <a:r>
              <a:rPr lang="nb-NO" sz="2850" b="1"/>
              <a:t>Agenda:</a:t>
            </a:r>
          </a:p>
          <a:p>
            <a:pPr marL="548640" indent="-548640">
              <a:buFont typeface="+mj-lt"/>
              <a:buAutoNum type="arabicPeriod"/>
            </a:pPr>
            <a:r>
              <a:rPr lang="nb-NO" sz="2400"/>
              <a:t>Import og lønnsvekst</a:t>
            </a:r>
          </a:p>
          <a:p>
            <a:pPr marL="548640" indent="-548640">
              <a:buAutoNum type="arabicPeriod"/>
            </a:pPr>
            <a:r>
              <a:rPr lang="nb-NO" sz="2400"/>
              <a:t>Lønnsrapport</a:t>
            </a:r>
          </a:p>
          <a:p>
            <a:pPr marL="548640" indent="-548640">
              <a:buAutoNum type="arabicPeriod"/>
            </a:pPr>
            <a:r>
              <a:rPr lang="nb-NO" sz="2400"/>
              <a:t>LTB_STILLING</a:t>
            </a:r>
          </a:p>
          <a:p>
            <a:pPr marL="548640" indent="-548640">
              <a:buAutoNum type="arabicPeriod"/>
            </a:pPr>
            <a:r>
              <a:rPr lang="nb-NO" sz="2400"/>
              <a:t>Differansen mellom hvordan data er lastet inn i BEVLTB nå </a:t>
            </a:r>
            <a:r>
              <a:rPr lang="nb-NO" sz="2400" err="1"/>
              <a:t>vs</a:t>
            </a:r>
            <a:r>
              <a:rPr lang="nb-NO" sz="2400"/>
              <a:t> i fjor</a:t>
            </a:r>
          </a:p>
          <a:p>
            <a:pPr marL="548640" indent="-548640">
              <a:buAutoNum type="arabicPeriod"/>
            </a:pPr>
            <a:r>
              <a:rPr lang="nb-NO" sz="2400"/>
              <a:t>Bruk av justeringskode</a:t>
            </a:r>
          </a:p>
          <a:p>
            <a:pPr marL="548640" indent="-548640">
              <a:buAutoNum type="arabicPeriod"/>
            </a:pPr>
            <a:endParaRPr lang="nb-NO" sz="24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4223C2-5968-45E1-B065-D97DED26C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97280">
              <a:defRPr/>
            </a:pPr>
            <a:fld id="{AB35ACD5-0D42-42F7-B111-2AEA8F2C3631}" type="slidenum">
              <a:rPr lang="en-US" altLang="nb-NO">
                <a:solidFill>
                  <a:srgbClr val="808080"/>
                </a:solidFill>
                <a:latin typeface="Arial"/>
                <a:ea typeface="ヒラギノ角ゴ Pro W3"/>
              </a:rPr>
              <a:pPr defTabSz="1097280">
                <a:defRPr/>
              </a:pPr>
              <a:t>3</a:t>
            </a:fld>
            <a:endParaRPr lang="en-US" altLang="nb-NO">
              <a:solidFill>
                <a:srgbClr val="808080"/>
              </a:solidFill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0809401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21639-0E1C-45BF-A6A1-0DC4529CA5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76376" y="2906715"/>
            <a:ext cx="9326880" cy="1500186"/>
          </a:xfrm>
        </p:spPr>
        <p:txBody>
          <a:bodyPr anchor="ctr"/>
          <a:lstStyle/>
          <a:p>
            <a:pPr algn="ctr"/>
            <a:r>
              <a:rPr lang="nb-NO" sz="4320" b="1"/>
              <a:t>TAKK FOR  NÅ!</a:t>
            </a:r>
            <a:endParaRPr lang="nb-NO" sz="4320"/>
          </a:p>
        </p:txBody>
      </p:sp>
      <p:pic>
        <p:nvPicPr>
          <p:cNvPr id="4" name="Graphic 3" descr="Balloons">
            <a:extLst>
              <a:ext uri="{FF2B5EF4-FFF2-40B4-BE49-F238E27FC236}">
                <a16:creationId xmlns:a16="http://schemas.microsoft.com/office/drawing/2014/main" id="{08072DD3-1DB7-4A7B-83C0-7B0ED6818B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16030">
            <a:off x="8547144" y="2585921"/>
            <a:ext cx="1703203" cy="1703203"/>
          </a:xfrm>
          <a:prstGeom prst="rect">
            <a:avLst/>
          </a:prstGeom>
        </p:spPr>
      </p:pic>
      <p:pic>
        <p:nvPicPr>
          <p:cNvPr id="5" name="Graphic 4" descr="Balloons">
            <a:extLst>
              <a:ext uri="{FF2B5EF4-FFF2-40B4-BE49-F238E27FC236}">
                <a16:creationId xmlns:a16="http://schemas.microsoft.com/office/drawing/2014/main" id="{8E642852-3574-449D-B524-B6996839F0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1094692">
            <a:off x="1943889" y="2588155"/>
            <a:ext cx="1703203" cy="1703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232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itt praktisk om dagens mø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7631" y="1981200"/>
            <a:ext cx="9716701" cy="4114800"/>
          </a:xfrm>
        </p:spPr>
        <p:txBody>
          <a:bodyPr>
            <a:normAutofit/>
          </a:bodyPr>
          <a:lstStyle/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/>
              <a:t>Presentasjonen blir sendt ut i etterkant</a:t>
            </a:r>
          </a:p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/>
              <a:t>Husk å sette på mute</a:t>
            </a:r>
          </a:p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/>
              <a:t>Samler opp spørsmål i bolker. Rekk opp hånd eller bruk chatten</a:t>
            </a:r>
          </a:p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/>
              <a:t>Spørsmål vi ikke rekker i dag? Flere muligheter på arbeidsstuene!</a:t>
            </a:r>
          </a:p>
          <a:p>
            <a:pPr marL="325755" indent="-325755">
              <a:lnSpc>
                <a:spcPct val="150000"/>
              </a:lnSpc>
            </a:pPr>
            <a:endParaRPr lang="nb-NO" sz="2400"/>
          </a:p>
        </p:txBody>
      </p:sp>
      <p:pic>
        <p:nvPicPr>
          <p:cNvPr id="9" name="Graphic 8" descr="Chat">
            <a:extLst>
              <a:ext uri="{FF2B5EF4-FFF2-40B4-BE49-F238E27FC236}">
                <a16:creationId xmlns:a16="http://schemas.microsoft.com/office/drawing/2014/main" id="{61DA4CDF-8A77-4167-8AE3-B776E410B2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9837" y="1981200"/>
            <a:ext cx="816379" cy="816379"/>
          </a:xfrm>
          <a:prstGeom prst="rect">
            <a:avLst/>
          </a:prstGeom>
        </p:spPr>
      </p:pic>
      <p:pic>
        <p:nvPicPr>
          <p:cNvPr id="11" name="Graphic 10" descr="Mute speaker">
            <a:extLst>
              <a:ext uri="{FF2B5EF4-FFF2-40B4-BE49-F238E27FC236}">
                <a16:creationId xmlns:a16="http://schemas.microsoft.com/office/drawing/2014/main" id="{9F6D8F79-0FA8-4090-B23B-CA731728FC5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8792" y="2754274"/>
            <a:ext cx="816379" cy="816379"/>
          </a:xfrm>
          <a:prstGeom prst="rect">
            <a:avLst/>
          </a:prstGeom>
        </p:spPr>
      </p:pic>
      <p:pic>
        <p:nvPicPr>
          <p:cNvPr id="5" name="Graphic 4" descr="Raised hand">
            <a:extLst>
              <a:ext uri="{FF2B5EF4-FFF2-40B4-BE49-F238E27FC236}">
                <a16:creationId xmlns:a16="http://schemas.microsoft.com/office/drawing/2014/main" id="{21AF0020-F9EE-44E6-A5AC-10655502E14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7166" y="3570057"/>
            <a:ext cx="816379" cy="816379"/>
          </a:xfrm>
          <a:prstGeom prst="rect">
            <a:avLst/>
          </a:prstGeom>
        </p:spPr>
      </p:pic>
      <p:pic>
        <p:nvPicPr>
          <p:cNvPr id="6" name="Grafikk 5" descr="Spørsmålstegn med heldekkende fyll">
            <a:extLst>
              <a:ext uri="{FF2B5EF4-FFF2-40B4-BE49-F238E27FC236}">
                <a16:creationId xmlns:a16="http://schemas.microsoft.com/office/drawing/2014/main" id="{95409138-A926-4D15-9937-9F952C4BCE9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3332" y="4391081"/>
            <a:ext cx="733497" cy="733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103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e 18" descr="Bordplaten på et trebord med naturlig, uskarpt løvverk i bakgrunnen">
            <a:extLst>
              <a:ext uri="{FF2B5EF4-FFF2-40B4-BE49-F238E27FC236}">
                <a16:creationId xmlns:a16="http://schemas.microsoft.com/office/drawing/2014/main" id="{3664D56A-4B3A-43FB-B5AC-60C7E1AA4E0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40141"/>
          </a:xfrm>
          <a:prstGeom prst="rect">
            <a:avLst/>
          </a:prstGeom>
        </p:spPr>
      </p:pic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ACBFF843-0B69-4680-B7EC-7953A7918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9A92D2B-C6A1-4492-9EA0-C2F33F74F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8F39D77-C1F4-40A6-9A14-5AE4BFBB6BFC}"/>
              </a:ext>
            </a:extLst>
          </p:cNvPr>
          <p:cNvSpPr txBox="1">
            <a:spLocks/>
          </p:cNvSpPr>
          <p:nvPr/>
        </p:nvSpPr>
        <p:spPr>
          <a:xfrm>
            <a:off x="948813" y="1381213"/>
            <a:ext cx="6912078" cy="1878763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2800"/>
              <a:t>Importering av lønnsdata og lønnsvektstillegg til de importerte dataene</a:t>
            </a:r>
          </a:p>
        </p:txBody>
      </p:sp>
    </p:spTree>
    <p:extLst>
      <p:ext uri="{BB962C8B-B14F-4D97-AF65-F5344CB8AC3E}">
        <p14:creationId xmlns:p14="http://schemas.microsoft.com/office/powerpoint/2010/main" val="42619578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E1E30382-FE5C-44BE-8C4F-383AEE569EF2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931405"/>
            <a:ext cx="10185053" cy="4589296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/>
              <a:buChar char="•"/>
            </a:pPr>
            <a:r>
              <a:rPr lang="nb-NO" sz="1600">
                <a:cs typeface="Arial"/>
              </a:rPr>
              <a:t>Import av lønnsdata er gjort til BEVAAR2023 og BEVLTB . Dataene er hentet fra SAP per 1. oktober 2022</a:t>
            </a:r>
          </a:p>
          <a:p>
            <a:pPr marL="285750" indent="-285750">
              <a:buFont typeface="Arial,Sans-Serif"/>
              <a:buChar char="•"/>
            </a:pPr>
            <a:r>
              <a:rPr lang="en-US" sz="1600">
                <a:cs typeface="Arial"/>
              </a:rPr>
              <a:t>Det </a:t>
            </a:r>
            <a:r>
              <a:rPr lang="nb-NO" sz="1600">
                <a:cs typeface="Arial"/>
              </a:rPr>
              <a:t>er samme grunnlaget både til årsbudsjettet og langtidsprognosen. </a:t>
            </a:r>
            <a:endParaRPr lang="en-US" sz="1600">
              <a:ea typeface="+mn-lt"/>
              <a:cs typeface="+mn-lt"/>
            </a:endParaRPr>
          </a:p>
          <a:p>
            <a:pPr marL="285750" indent="-285750">
              <a:buFont typeface="Arial,Sans-Serif"/>
              <a:buChar char="•"/>
            </a:pPr>
            <a:r>
              <a:rPr lang="nb-NO" sz="1600">
                <a:cs typeface="Arial"/>
              </a:rPr>
              <a:t>Tilgjengelig år i databanken er inneværende år og neste år, altså 2022 og 2023. Årene 2024-2027 er basert på år 2023. Eventuelle sluttdatoer registrert I SAP er hensyntatt. </a:t>
            </a:r>
            <a:endParaRPr lang="en-US" sz="1600">
              <a:ea typeface="+mn-lt"/>
              <a:cs typeface="+mn-lt"/>
            </a:endParaRPr>
          </a:p>
          <a:p>
            <a:pPr marL="285750" indent="-285750">
              <a:buFont typeface="Arial,Sans-Serif"/>
              <a:buChar char="•"/>
            </a:pPr>
            <a:r>
              <a:rPr lang="nb-NO" sz="1600">
                <a:cs typeface="Arial"/>
              </a:rPr>
              <a:t>Inkluderer kun ansatte på bevilgning</a:t>
            </a:r>
            <a:endParaRPr lang="nb-NO" sz="1600">
              <a:ea typeface="+mn-lt"/>
              <a:cs typeface="+mn-lt"/>
            </a:endParaRPr>
          </a:p>
          <a:p>
            <a:pPr marL="125095" indent="-125095"/>
            <a:endParaRPr lang="nb-NO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cs typeface="Arial"/>
            </a:endParaRPr>
          </a:p>
          <a:p>
            <a:pPr marL="0" indent="0"/>
            <a:r>
              <a:rPr lang="nb-NO">
                <a:cs typeface="Arial"/>
              </a:rPr>
              <a:t>I BEVLTB: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cs typeface="Arial"/>
              </a:rPr>
              <a:t>Stillinger lastes inn med antall og lønn </a:t>
            </a:r>
            <a:r>
              <a:rPr lang="nb-NO" err="1">
                <a:cs typeface="Arial"/>
              </a:rPr>
              <a:t>ihht</a:t>
            </a:r>
            <a:r>
              <a:rPr lang="nb-NO">
                <a:cs typeface="Arial"/>
              </a:rPr>
              <a:t> det som er ligger inne i SAP for det koststedet, delprosjektet og stillingsko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cs typeface="Arial"/>
              </a:rPr>
              <a:t>Merk at det kan være stillinger som kommer med 0 i årsverk og lønn. Dette gjelder ansatte som har vært ansatte i 2022/3, men har sluttet. De kommer med i importen, men uten data. Radene kan slettes om man ønsker det. </a:t>
            </a:r>
            <a:endParaRPr lang="nb-NO"/>
          </a:p>
          <a:p>
            <a:pPr marL="0" indent="0"/>
            <a:endParaRPr lang="nb-NO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cs typeface="Arial"/>
            </a:endParaRP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BF77C30-7DC0-4920-BA6E-0176509DAD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815E3D3-87D4-4DF2-948A-6DB791F41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8" name="Tittel 7">
            <a:extLst>
              <a:ext uri="{FF2B5EF4-FFF2-40B4-BE49-F238E27FC236}">
                <a16:creationId xmlns:a16="http://schemas.microsoft.com/office/drawing/2014/main" id="{3AECBC56-2572-4250-9FB6-ACAE3F81B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53023"/>
            <a:ext cx="11471910" cy="584526"/>
          </a:xfrm>
        </p:spPr>
        <p:txBody>
          <a:bodyPr/>
          <a:lstStyle/>
          <a:p>
            <a:r>
              <a:rPr lang="nb-NO"/>
              <a:t>Importen av lønnsdata </a:t>
            </a:r>
          </a:p>
        </p:txBody>
      </p:sp>
      <p:pic>
        <p:nvPicPr>
          <p:cNvPr id="3" name="Picture 3" descr="Table&#10;&#10;Description automatically generated">
            <a:extLst>
              <a:ext uri="{FF2B5EF4-FFF2-40B4-BE49-F238E27FC236}">
                <a16:creationId xmlns:a16="http://schemas.microsoft.com/office/drawing/2014/main" id="{91552328-F705-0C03-BE70-14978BAA10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825" y="2515344"/>
            <a:ext cx="2743200" cy="889686"/>
          </a:xfrm>
          <a:prstGeom prst="rect">
            <a:avLst/>
          </a:prstGeom>
        </p:spPr>
      </p:pic>
      <p:pic>
        <p:nvPicPr>
          <p:cNvPr id="4" name="Picture 4" descr="Table&#10;&#10;Description automatically generated">
            <a:extLst>
              <a:ext uri="{FF2B5EF4-FFF2-40B4-BE49-F238E27FC236}">
                <a16:creationId xmlns:a16="http://schemas.microsoft.com/office/drawing/2014/main" id="{F124D717-74B5-41A1-79F0-E5D4C72D485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203" y="2665542"/>
            <a:ext cx="7248210" cy="58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118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CDDD332-68A8-91B2-64DE-B970BAFCE13E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25095" indent="-125095"/>
            <a:r>
              <a:rPr lang="en-US" err="1">
                <a:cs typeface="Arial"/>
              </a:rPr>
              <a:t>Importen</a:t>
            </a:r>
            <a:r>
              <a:rPr lang="en-US">
                <a:cs typeface="Arial"/>
              </a:rPr>
              <a:t> tar </a:t>
            </a:r>
            <a:r>
              <a:rPr lang="en-US" err="1">
                <a:cs typeface="Arial"/>
              </a:rPr>
              <a:t>hensy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til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permisjone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ut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lønn</a:t>
            </a:r>
            <a:r>
              <a:rPr lang="en-US">
                <a:cs typeface="Arial"/>
              </a:rPr>
              <a:t>. F. </a:t>
            </a:r>
            <a:r>
              <a:rPr lang="en-US" err="1">
                <a:cs typeface="Arial"/>
              </a:rPr>
              <a:t>eks</a:t>
            </a:r>
            <a:r>
              <a:rPr lang="en-US">
                <a:cs typeface="Arial"/>
              </a:rPr>
              <a:t> 2 </a:t>
            </a:r>
            <a:r>
              <a:rPr lang="en-US" err="1">
                <a:cs typeface="Arial"/>
              </a:rPr>
              <a:t>personer</a:t>
            </a:r>
            <a:r>
              <a:rPr lang="en-US">
                <a:cs typeface="Arial"/>
              </a:rPr>
              <a:t> (</a:t>
            </a:r>
            <a:r>
              <a:rPr lang="en-US" err="1">
                <a:cs typeface="Arial"/>
              </a:rPr>
              <a:t>en</a:t>
            </a:r>
            <a:r>
              <a:rPr lang="en-US">
                <a:cs typeface="Arial"/>
              </a:rPr>
              <a:t> 100% </a:t>
            </a:r>
            <a:r>
              <a:rPr lang="en-US" err="1">
                <a:cs typeface="Arial"/>
              </a:rPr>
              <a:t>og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en</a:t>
            </a:r>
            <a:r>
              <a:rPr lang="en-US">
                <a:cs typeface="Arial"/>
              </a:rPr>
              <a:t> 60% stilling) </a:t>
            </a:r>
            <a:r>
              <a:rPr lang="en-US" err="1">
                <a:cs typeface="Arial"/>
              </a:rPr>
              <a:t>som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ha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permisjo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ut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løn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komme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tilbake</a:t>
            </a:r>
            <a:r>
              <a:rPr lang="en-US">
                <a:cs typeface="Arial"/>
              </a:rPr>
              <a:t> I </a:t>
            </a:r>
            <a:r>
              <a:rPr lang="en-US" err="1">
                <a:cs typeface="Arial"/>
              </a:rPr>
              <a:t>februar</a:t>
            </a:r>
            <a:r>
              <a:rPr lang="en-US">
                <a:cs typeface="Arial"/>
              </a:rPr>
              <a:t>/mars 2023. Dette </a:t>
            </a:r>
            <a:r>
              <a:rPr lang="en-US" err="1">
                <a:cs typeface="Arial"/>
              </a:rPr>
              <a:t>hensyntas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både</a:t>
            </a:r>
            <a:r>
              <a:rPr lang="en-US">
                <a:cs typeface="Arial"/>
              </a:rPr>
              <a:t> I BEVAAR </a:t>
            </a:r>
            <a:r>
              <a:rPr lang="en-US" err="1">
                <a:cs typeface="Arial"/>
              </a:rPr>
              <a:t>og</a:t>
            </a:r>
            <a:r>
              <a:rPr lang="en-US">
                <a:cs typeface="Arial"/>
              </a:rPr>
              <a:t> I BEVLTB: </a:t>
            </a:r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B5BFE-2386-D618-7D5F-87D6DD079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32D6A1-5EE9-3156-9142-4D02EF02B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EBF3697-6E9B-DB2D-4E17-09A9C3082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ea typeface="+mj-lt"/>
                <a:cs typeface="+mj-lt"/>
              </a:rPr>
              <a:t>Importen av lønnsdata til BEVLTB forts.</a:t>
            </a:r>
            <a:endParaRPr lang="en-US"/>
          </a:p>
        </p:txBody>
      </p:sp>
      <p:pic>
        <p:nvPicPr>
          <p:cNvPr id="8" name="Picture 8" descr="Graphical user interface, application, table&#10;&#10;Description automatically generated">
            <a:extLst>
              <a:ext uri="{FF2B5EF4-FFF2-40B4-BE49-F238E27FC236}">
                <a16:creationId xmlns:a16="http://schemas.microsoft.com/office/drawing/2014/main" id="{DA3C680F-43FD-3F41-84CC-F80D61F43C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224" y="5229452"/>
            <a:ext cx="10153859" cy="719886"/>
          </a:xfrm>
          <a:prstGeom prst="rect">
            <a:avLst/>
          </a:prstGeom>
        </p:spPr>
      </p:pic>
      <p:pic>
        <p:nvPicPr>
          <p:cNvPr id="6" name="Picture 8" descr="Graphical user interface, table&#10;&#10;Description automatically generated">
            <a:extLst>
              <a:ext uri="{FF2B5EF4-FFF2-40B4-BE49-F238E27FC236}">
                <a16:creationId xmlns:a16="http://schemas.microsoft.com/office/drawing/2014/main" id="{78D9BB9F-025F-025D-FCBA-74EAB339FAE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625" y="1507230"/>
            <a:ext cx="5893942" cy="369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725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A2739F31-11A8-4BD0-9AD2-51D2A681CA1C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954841"/>
            <a:ext cx="11091805" cy="33565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Lønnsvekst må hensyntas manuelt «på toppen» av de importerte dataene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Hensynta både….</a:t>
            </a:r>
          </a:p>
          <a:p>
            <a:pPr marL="1474819" lvl="2" indent="-180000">
              <a:buFont typeface="+mj-lt"/>
              <a:buAutoNum type="alphaLcParenR"/>
            </a:pPr>
            <a:r>
              <a:rPr lang="nb-NO" sz="1200"/>
              <a:t>delene av lønnsoppgjøret 2022 som ikke allerede er hensyntatt i de importerte dataene per 1.10. </a:t>
            </a:r>
          </a:p>
          <a:p>
            <a:pPr marL="1474819" lvl="2" indent="-180000">
              <a:buFont typeface="+mj-lt"/>
              <a:buAutoNum type="alphaLcParenR"/>
            </a:pPr>
            <a:r>
              <a:rPr lang="nb-NO" sz="1200"/>
              <a:t>generell lønnsvekst 2023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Må hensyntas både i BEVAAR2023 og BEVLTB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endParaRPr lang="nb-NO" sz="12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Mht. 2022-lønnsoppgjøret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 i="1"/>
              <a:t>Beklager feil informasjon i infomøtet 11.10. Vennligst se bort fra foilene her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 u="sng"/>
              <a:t>Hovedtyngden av lønnsoppgjøret 2022 er ikke hensyntatt i de importerte dataene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De importerte dataene inneholder… </a:t>
            </a:r>
          </a:p>
          <a:p>
            <a:pPr marL="1303369" lvl="2" indent="-285750">
              <a:buFont typeface="Arial" panose="020B0604020202020204" pitchFamily="34" charset="0"/>
              <a:buChar char="•"/>
            </a:pPr>
            <a:r>
              <a:rPr lang="nb-NO" sz="1200" i="1"/>
              <a:t>ikke</a:t>
            </a:r>
            <a:r>
              <a:rPr lang="nb-NO" sz="1200"/>
              <a:t> effektene av lokalt lønnsoppgjør</a:t>
            </a:r>
          </a:p>
          <a:p>
            <a:pPr marL="1303369" lvl="2" indent="-285750">
              <a:buFont typeface="Arial" panose="020B0604020202020204" pitchFamily="34" charset="0"/>
              <a:buChar char="•"/>
            </a:pPr>
            <a:r>
              <a:rPr lang="nb-NO" sz="1200" i="1"/>
              <a:t>deler</a:t>
            </a:r>
            <a:r>
              <a:rPr lang="nb-NO" sz="1200"/>
              <a:t> av effektene av sentralt lønnsoppgjør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Hovedtyngden av lønnsoppgjøret ved UiO vil uansett komme i lokalt oppgjør</a:t>
            </a:r>
          </a:p>
          <a:p>
            <a:pPr marL="1303369" lvl="2" indent="-285750">
              <a:buFont typeface="Arial" panose="020B0604020202020204" pitchFamily="34" charset="0"/>
              <a:buChar char="•"/>
            </a:pPr>
            <a:r>
              <a:rPr lang="nb-NO" sz="1200"/>
              <a:t>80% av UiOs ansatte er organisert i UNIO/Akademikerne, der </a:t>
            </a:r>
            <a:r>
              <a:rPr lang="nb-NO" sz="1200" i="1"/>
              <a:t>hele potten </a:t>
            </a:r>
            <a:r>
              <a:rPr lang="nb-NO" sz="1200"/>
              <a:t>går til lokalt oppgjør</a:t>
            </a:r>
          </a:p>
          <a:p>
            <a:pPr marL="1303369" lvl="2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i="1">
              <a:solidFill>
                <a:srgbClr val="FF0000"/>
              </a:solidFill>
            </a:endParaRPr>
          </a:p>
          <a:p>
            <a:pPr marL="0" indent="0"/>
            <a:endParaRPr lang="nb-NO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i="1"/>
          </a:p>
          <a:p>
            <a:pPr marL="0" indent="0"/>
            <a:endParaRPr lang="nb-NO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800"/>
          </a:p>
          <a:p>
            <a:pPr marL="560396" lvl="1" indent="0">
              <a:buNone/>
            </a:pPr>
            <a:endParaRPr lang="nb-NO" sz="140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6E4F4000-28E2-42E4-93C7-2146937F26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016B87D-76DC-469A-8D61-830D32DA7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08005EFA-F1DC-4776-892F-BD23AE415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714000"/>
            <a:ext cx="11471910" cy="542658"/>
          </a:xfrm>
        </p:spPr>
        <p:txBody>
          <a:bodyPr/>
          <a:lstStyle/>
          <a:p>
            <a:r>
              <a:rPr lang="nb-NO"/>
              <a:t>Lønnsvekst: Hva er importert - og hva må hensyntas «på toppen»?</a:t>
            </a:r>
          </a:p>
        </p:txBody>
      </p:sp>
    </p:spTree>
    <p:extLst>
      <p:ext uri="{BB962C8B-B14F-4D97-AF65-F5344CB8AC3E}">
        <p14:creationId xmlns:p14="http://schemas.microsoft.com/office/powerpoint/2010/main" val="24321219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A2739F31-11A8-4BD0-9AD2-51D2A681CA1C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05180" y="1515929"/>
            <a:ext cx="11091805" cy="3356544"/>
          </a:xfrm>
        </p:spPr>
        <p:txBody>
          <a:bodyPr/>
          <a:lstStyle/>
          <a:p>
            <a:pPr marL="0" indent="0"/>
            <a:r>
              <a:rPr lang="nb-NO" sz="1800">
                <a:solidFill>
                  <a:schemeClr val="tx1"/>
                </a:solidFill>
              </a:rPr>
              <a:t>a) Lønnsvekst 2022: bruk 2,3%</a:t>
            </a:r>
          </a:p>
          <a:p>
            <a:pPr marL="560396" lvl="1" indent="0">
              <a:buNone/>
            </a:pPr>
            <a:r>
              <a:rPr lang="nb-NO" sz="1200"/>
              <a:t>Basert på rammen for lokalt lønnsoppgjør 2022: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UNIO/Akademikerne (80% av UiOs ansatte): 2,46%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LO/YS (20% av UiOs ansatte):  0,85%</a:t>
            </a:r>
          </a:p>
          <a:p>
            <a:pPr marL="560396" lvl="1" indent="0">
              <a:buNone/>
            </a:pPr>
            <a:r>
              <a:rPr lang="nb-NO" sz="1200"/>
              <a:t>Rundet litt opp pga. ufullstendig implementert sentralt oppgjør</a:t>
            </a:r>
          </a:p>
          <a:p>
            <a:pPr marL="560396" lvl="1" indent="0">
              <a:buNone/>
            </a:pPr>
            <a:endParaRPr lang="nb-NO" sz="1800"/>
          </a:p>
          <a:p>
            <a:pPr marL="0" indent="0"/>
            <a:r>
              <a:rPr lang="nb-NO" sz="1800"/>
              <a:t>b) Lønnsvekst 2023: bruk 3,3%</a:t>
            </a:r>
          </a:p>
          <a:p>
            <a:pPr marL="560396" lvl="1" indent="0">
              <a:buNone/>
            </a:pPr>
            <a:r>
              <a:rPr lang="nb-NO" sz="1200"/>
              <a:t>= anslått lønnsvekst 2023 4,1%  </a:t>
            </a:r>
            <a:r>
              <a:rPr lang="nb-NO" sz="1200" i="1"/>
              <a:t>minus</a:t>
            </a:r>
            <a:r>
              <a:rPr lang="nb-NO" sz="1200"/>
              <a:t> overheng 0,8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1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800"/>
              <a:t>Blir ikke nødvendigvis «riktig på krona», - men det er uansett usikkerhet knyttet til lønnsutviklingen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Andelen LO/YS vs. AK/UNIO kan variere noe mellom ulike deler av organisasjonen. Anbefaler uansett å bruke den felles satsen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200"/>
              <a:t>Viktigst at lønnsvekstpottene 2022 og 2023 </a:t>
            </a:r>
            <a:r>
              <a:rPr lang="nb-NO" sz="1200" i="1"/>
              <a:t>samlet sett </a:t>
            </a:r>
            <a:r>
              <a:rPr lang="nb-NO" sz="1200"/>
              <a:t>framstår som rimelig – mht. 2023 er det uansett usikkerhet</a:t>
            </a:r>
            <a:endParaRPr lang="nb-NO" sz="110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6E4F4000-28E2-42E4-93C7-2146937F26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016B87D-76DC-469A-8D61-830D32DA7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08005EFA-F1DC-4776-892F-BD23AE415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714000"/>
            <a:ext cx="11471910" cy="542658"/>
          </a:xfrm>
        </p:spPr>
        <p:txBody>
          <a:bodyPr/>
          <a:lstStyle/>
          <a:p>
            <a:r>
              <a:rPr lang="nb-NO"/>
              <a:t>Lønnsvekst: Overordnet om lønnsvekstpottene</a:t>
            </a:r>
          </a:p>
        </p:txBody>
      </p:sp>
    </p:spTree>
    <p:extLst>
      <p:ext uri="{BB962C8B-B14F-4D97-AF65-F5344CB8AC3E}">
        <p14:creationId xmlns:p14="http://schemas.microsoft.com/office/powerpoint/2010/main" val="1425540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1_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3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4.xml><?xml version="1.0" encoding="utf-8"?>
<a:theme xmlns:a="http://schemas.openxmlformats.org/drawingml/2006/main" name="UIONorsk16-10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5A39113E23CFF4C932AF8A2377B78CA" ma:contentTypeVersion="4" ma:contentTypeDescription="Opprett et nytt dokument." ma:contentTypeScope="" ma:versionID="5abfaebd28740ea14c28d02699bde135">
  <xsd:schema xmlns:xsd="http://www.w3.org/2001/XMLSchema" xmlns:xs="http://www.w3.org/2001/XMLSchema" xmlns:p="http://schemas.microsoft.com/office/2006/metadata/properties" xmlns:ns2="a3a7f95b-3ac4-485e-8a5a-c0989fae4cb1" xmlns:ns3="b3c01482-6e5d-4180-ba92-bee730fe520b" targetNamespace="http://schemas.microsoft.com/office/2006/metadata/properties" ma:root="true" ma:fieldsID="2c0496d8ce7394e6e62de381aa8071e2" ns2:_="" ns3:_="">
    <xsd:import namespace="a3a7f95b-3ac4-485e-8a5a-c0989fae4cb1"/>
    <xsd:import namespace="b3c01482-6e5d-4180-ba92-bee730fe52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a7f95b-3ac4-485e-8a5a-c0989fae4c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c01482-6e5d-4180-ba92-bee730fe52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a3a7f95b-3ac4-485e-8a5a-c0989fae4cb1"/>
    <ds:schemaRef ds:uri="b3c01482-6e5d-4180-ba92-bee730fe52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DBB5FED-A2C1-4418-A219-EF909AD7FC1E}">
  <ds:schemaRefs>
    <ds:schemaRef ds:uri="a3a7f95b-3ac4-485e-8a5a-c0989fae4cb1"/>
    <ds:schemaRef ds:uri="b3c01482-6e5d-4180-ba92-bee730fe52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Application>Microsoft Office PowerPoint</Application>
  <PresentationFormat>Widescreen</PresentationFormat>
  <Slides>30</Slides>
  <Notes>12</Notes>
  <HiddenSlides>2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30</vt:i4>
      </vt:variant>
    </vt:vector>
  </HeadingPairs>
  <TitlesOfParts>
    <vt:vector size="34" baseType="lpstr">
      <vt:lpstr>Office-tema</vt:lpstr>
      <vt:lpstr>1_Office-tema</vt:lpstr>
      <vt:lpstr>Office-tema</vt:lpstr>
      <vt:lpstr>UIONorsk16-10</vt:lpstr>
      <vt:lpstr>Arbeidsstue  Lønn og årsverk</vt:lpstr>
      <vt:lpstr>PowerPoint Presentation</vt:lpstr>
      <vt:lpstr>PowerPoint Presentation</vt:lpstr>
      <vt:lpstr>Litt praktisk om dagens møte</vt:lpstr>
      <vt:lpstr>PowerPoint Presentation</vt:lpstr>
      <vt:lpstr>Importen av lønnsdata </vt:lpstr>
      <vt:lpstr>Importen av lønnsdata til BEVLTB forts.</vt:lpstr>
      <vt:lpstr>Lønnsvekst: Hva er importert - og hva må hensyntas «på toppen»?</vt:lpstr>
      <vt:lpstr>Lønnsvekst: Overordnet om lønnsvekstpottene</vt:lpstr>
      <vt:lpstr>Lønnsvekst: Konkret oppskrift BEVAAR2023</vt:lpstr>
      <vt:lpstr>Lønnsvekst: Konkret oppskrift BEVLTB</vt:lpstr>
      <vt:lpstr>Lønnsvekst: Oppsummert</vt:lpstr>
      <vt:lpstr>Satser (2022 vs 2023)</vt:lpstr>
      <vt:lpstr>PowerPoint Presentation</vt:lpstr>
      <vt:lpstr>Årsverk – støtte til langtidsprognose</vt:lpstr>
      <vt:lpstr>Årsverk – støtte til langtidsprognose</vt:lpstr>
      <vt:lpstr>Rapport</vt:lpstr>
      <vt:lpstr>Et eksempel </vt:lpstr>
      <vt:lpstr>Hvordan jobbe med den nye rapporten?</vt:lpstr>
      <vt:lpstr>Hvordan jobbe med den nye rapporten?</vt:lpstr>
      <vt:lpstr>Hvordan jobbe med andre lønnsrapporter? Årsbudsjett</vt:lpstr>
      <vt:lpstr>Hvordan jobbe med andre lønnsrapporter? Årsbudsjett</vt:lpstr>
      <vt:lpstr>Hvordan jobbe med andre lønnsrapporter? Årsbudsjett</vt:lpstr>
      <vt:lpstr>Hvordan lese informasjonen I LTB_STILLING?</vt:lpstr>
      <vt:lpstr>Import av data til BEVLTB I år vs I fjor</vt:lpstr>
      <vt:lpstr>Hvordan legge inn toppvurderinger</vt:lpstr>
      <vt:lpstr>Satser UNIT4</vt:lpstr>
      <vt:lpstr>Nettside budsjett og prognose</vt:lpstr>
      <vt:lpstr>Support og møtepunkter framove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sjonsmøte om arbeidet fram mot leveranse 15.12.</dc:title>
  <dc:creator>Jon Christian Ottersen</dc:creator>
  <cp:revision>1</cp:revision>
  <cp:lastPrinted>2022-10-17T15:47:40Z</cp:lastPrinted>
  <dcterms:created xsi:type="dcterms:W3CDTF">2022-09-22T10:45:48Z</dcterms:created>
  <dcterms:modified xsi:type="dcterms:W3CDTF">2022-10-25T08:3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dlc_DocIdItemGuid">
    <vt:lpwstr>e1ba8df5-1c55-4d83-8486-5b6b738896d5</vt:lpwstr>
  </property>
  <property fmtid="{D5CDD505-2E9C-101B-9397-08002B2CF9AE}" pid="4" name="ContentTypeId">
    <vt:lpwstr>0x01010055A39113E23CFF4C932AF8A2377B78CA</vt:lpwstr>
  </property>
</Properties>
</file>